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2">
  <p:sldMasterIdLst>
    <p:sldMasterId id="2147483660" r:id="rId1"/>
    <p:sldMasterId id="2147483833" r:id="rId2"/>
  </p:sldMasterIdLst>
  <p:notesMasterIdLst>
    <p:notesMasterId r:id="rId4"/>
  </p:notesMasterIdLst>
  <p:handoutMasterIdLst>
    <p:handoutMasterId r:id="rId5"/>
  </p:handoutMasterIdLst>
  <p:sldIdLst>
    <p:sldId id="2147479222" r:id="rId3"/>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80" clrIdx="0">
    <p:extLst>
      <p:ext uri="{19B8F6BF-5375-455C-9EA6-DF929625EA0E}">
        <p15:presenceInfo xmlns:p15="http://schemas.microsoft.com/office/powerpoint/2012/main" userId="S::cjwhite@kpmg.ca::0dea3d63-dcad-4748-a310-11ef28cac8a4" providerId="AD"/>
      </p:ext>
    </p:extLst>
  </p:cmAuthor>
  <p:cmAuthor id="2" name="Rosli, Saifun" initials="RS" lastIdx="24" clrIdx="1">
    <p:extLst>
      <p:ext uri="{19B8F6BF-5375-455C-9EA6-DF929625EA0E}">
        <p15:presenceInfo xmlns:p15="http://schemas.microsoft.com/office/powerpoint/2012/main" userId="S::Saifun.BinAhmadRosli@KPMG.co.uk::970add96-9dc8-4349-9b4f-4aeb9a30bf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8F5"/>
    <a:srgbClr val="F2F2F2"/>
    <a:srgbClr val="CC00CC"/>
    <a:srgbClr val="79B800"/>
    <a:srgbClr val="9E2F39"/>
    <a:srgbClr val="409DAC"/>
    <a:srgbClr val="2C7DEA"/>
    <a:srgbClr val="00A1A0"/>
    <a:srgbClr val="1E49E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114"/>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05/06/2024</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05/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1.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9" name="Rectangle 8">
            <a:extLst>
              <a:ext uri="{FF2B5EF4-FFF2-40B4-BE49-F238E27FC236}">
                <a16:creationId xmlns:a16="http://schemas.microsoft.com/office/drawing/2014/main" id="{2101C832-6FAC-40A0-BBA3-94F0E463DC45}"/>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9242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67E4BFF9-F85A-4638-ADE5-87FB48B6ED46}"/>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77057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600" kern="1200" noProof="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8D073B6C-A3F6-459D-BC13-DC57D78ED58C}"/>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Graphic 8">
            <a:extLst>
              <a:ext uri="{FF2B5EF4-FFF2-40B4-BE49-F238E27FC236}">
                <a16:creationId xmlns:a16="http://schemas.microsoft.com/office/drawing/2014/main" id="{98B95CDD-2ABB-4477-9BBC-48463CC47FE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99372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56E28EC7-0917-4D4A-9633-1C1C560949C6}"/>
              </a:ext>
            </a:extLst>
          </p:cNvPr>
          <p:cNvSpPr>
            <a:spLocks noGrp="1"/>
          </p:cNvSpPr>
          <p:nvPr>
            <p:ph type="title"/>
          </p:nvPr>
        </p:nvSpPr>
        <p:spPr/>
        <p:txBody>
          <a:bodyPr/>
          <a:lstStyle/>
          <a:p>
            <a:r>
              <a:rPr lang="en-US"/>
              <a:t>Click to edit Master title style</a:t>
            </a:r>
            <a:endParaRPr lang="ar-TN"/>
          </a:p>
        </p:txBody>
      </p:sp>
    </p:spTree>
    <p:extLst>
      <p:ext uri="{BB962C8B-B14F-4D97-AF65-F5344CB8AC3E}">
        <p14:creationId xmlns:p14="http://schemas.microsoft.com/office/powerpoint/2010/main" val="760996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a:solidFill>
                  <a:schemeClr val="bg1"/>
                </a:solidFill>
                <a:latin typeface="+mn-lt"/>
                <a:ea typeface="+mn-ea"/>
                <a:cs typeface="+mn-cs"/>
              </a:rPr>
              <a:t>Document Classification: KPMG Public</a:t>
            </a: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Graphic 8">
            <a:extLst>
              <a:ext uri="{FF2B5EF4-FFF2-40B4-BE49-F238E27FC236}">
                <a16:creationId xmlns:a16="http://schemas.microsoft.com/office/drawing/2014/main" id="{26EE2363-59EE-4324-9D1D-5A7467133FB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53584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14688539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77866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EF0DAB2D-E302-48A2-9568-49B2734ACB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081045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290827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endParaRPr lang="en-GB"/>
          </a:p>
        </p:txBody>
      </p:sp>
      <p:sp>
        <p:nvSpPr>
          <p:cNvPr id="12" name="Picture Placeholder 10">
            <a:extLst>
              <a:ext uri="{FF2B5EF4-FFF2-40B4-BE49-F238E27FC236}">
                <a16:creationId xmlns:a16="http://schemas.microsoft.com/office/drawing/2014/main"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endParaRPr lang="en-GB"/>
          </a:p>
        </p:txBody>
      </p:sp>
      <p:sp>
        <p:nvSpPr>
          <p:cNvPr id="13" name="Picture Placeholder 10">
            <a:extLst>
              <a:ext uri="{FF2B5EF4-FFF2-40B4-BE49-F238E27FC236}">
                <a16:creationId xmlns:a16="http://schemas.microsoft.com/office/drawing/2014/main"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endParaRPr lang="en-GB"/>
          </a:p>
        </p:txBody>
      </p:sp>
      <p:sp>
        <p:nvSpPr>
          <p:cNvPr id="14" name="Picture Placeholder 10">
            <a:extLst>
              <a:ext uri="{FF2B5EF4-FFF2-40B4-BE49-F238E27FC236}">
                <a16:creationId xmlns:a16="http://schemas.microsoft.com/office/drawing/2014/main"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990181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759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alpha val="25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32584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912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683865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accent1"/>
                </a:solidFill>
              </a:defRPr>
            </a:lvl1pPr>
          </a:lstStyle>
          <a:p>
            <a:r>
              <a:rPr lang="en-US"/>
              <a:t>Click to edit Master title style</a:t>
            </a:r>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rgbClr val="DCE6EE"/>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Tree>
    <p:extLst>
      <p:ext uri="{BB962C8B-B14F-4D97-AF65-F5344CB8AC3E}">
        <p14:creationId xmlns:p14="http://schemas.microsoft.com/office/powerpoint/2010/main" val="22733415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6958581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id="{3F974C88-37FD-486C-A053-2B6EC15FF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Graphic 8">
            <a:extLst>
              <a:ext uri="{FF2B5EF4-FFF2-40B4-BE49-F238E27FC236}">
                <a16:creationId xmlns:a16="http://schemas.microsoft.com/office/drawing/2014/main" id="{A75E6CC5-8B44-4F43-ACAA-428A4ADCE45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208364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1425663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6" name="Picture 5" descr="A picture containing scene, blur, laser, highway&#10;&#10;Description automatically generated">
            <a:extLst>
              <a:ext uri="{FF2B5EF4-FFF2-40B4-BE49-F238E27FC236}">
                <a16:creationId xmlns:a16="http://schemas.microsoft.com/office/drawing/2014/main" id="{B0B0ABE9-71C2-4AEA-A400-F3F7B15D78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1" name="Rectangle 20">
            <a:extLst>
              <a:ext uri="{FF2B5EF4-FFF2-40B4-BE49-F238E27FC236}">
                <a16:creationId xmlns:a16="http://schemas.microsoft.com/office/drawing/2014/main" id="{A0D0A1EE-8BAA-4CC9-9F95-AD9CB6CF0135}"/>
              </a:ext>
            </a:extLst>
          </p:cNvPr>
          <p:cNvSpPr/>
          <p:nvPr/>
        </p:nvSpPr>
        <p:spPr>
          <a:xfrm>
            <a:off x="0" y="-1"/>
            <a:ext cx="12192000" cy="1884693"/>
          </a:xfrm>
          <a:prstGeom prst="rect">
            <a:avLst/>
          </a:prstGeom>
          <a:gradFill flip="none" rotWithShape="1">
            <a:gsLst>
              <a:gs pos="0">
                <a:schemeClr val="tx1">
                  <a:alpha val="45000"/>
                </a:schemeClr>
              </a:gs>
              <a:gs pos="50000">
                <a:schemeClr val="tx1">
                  <a:alpha val="27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3" name="Text Placeholder 2">
            <a:extLst>
              <a:ext uri="{FF2B5EF4-FFF2-40B4-BE49-F238E27FC236}">
                <a16:creationId xmlns:a16="http://schemas.microsoft.com/office/drawing/2014/main" id="{9771E9CC-2A2B-4C75-8522-60824F3AC7F8}"/>
              </a:ext>
            </a:extLst>
          </p:cNvPr>
          <p:cNvSpPr>
            <a:spLocks noGrp="1"/>
          </p:cNvSpPr>
          <p:nvPr userDrawn="1">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userDrawn="1">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4" name="Group 3">
            <a:extLst>
              <a:ext uri="{FF2B5EF4-FFF2-40B4-BE49-F238E27FC236}">
                <a16:creationId xmlns:a16="http://schemas.microsoft.com/office/drawing/2014/main" id="{1C4D5492-D401-42A2-B377-EA27220983D3}"/>
              </a:ext>
            </a:extLst>
          </p:cNvPr>
          <p:cNvGrpSpPr/>
          <p:nvPr userDrawn="1"/>
        </p:nvGrpSpPr>
        <p:grpSpPr>
          <a:xfrm>
            <a:off x="998476" y="2881529"/>
            <a:ext cx="2023200" cy="367957"/>
            <a:chOff x="998476" y="2881529"/>
            <a:chExt cx="2023200" cy="367957"/>
          </a:xfrm>
        </p:grpSpPr>
        <p:sp>
          <p:nvSpPr>
            <p:cNvPr id="15" name="Rectangle 14">
              <a:extLst>
                <a:ext uri="{FF2B5EF4-FFF2-40B4-BE49-F238E27FC236}">
                  <a16:creationId xmlns:a16="http://schemas.microsoft.com/office/drawing/2014/main" id="{CF196AFE-0767-4ACF-9869-412F4845EABF}"/>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E42C7C2-E55C-467A-A194-4BA78575F316}"/>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Rectangle 16">
              <a:extLst>
                <a:ext uri="{FF2B5EF4-FFF2-40B4-BE49-F238E27FC236}">
                  <a16:creationId xmlns:a16="http://schemas.microsoft.com/office/drawing/2014/main" id="{C45E1FE7-629E-4892-B2EB-2FDAB3326BE5}"/>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07E3B322-EB53-4C7E-8968-4B7B3CE2432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9" name="Picture 8">
              <a:extLst>
                <a:ext uri="{FF2B5EF4-FFF2-40B4-BE49-F238E27FC236}">
                  <a16:creationId xmlns:a16="http://schemas.microsoft.com/office/drawing/2014/main" id="{3F3E6F56-5300-4CC2-8B6F-98341C903A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10" name="Picture 9" descr="Icon&#10;&#10;Description automatically generated">
              <a:extLst>
                <a:ext uri="{FF2B5EF4-FFF2-40B4-BE49-F238E27FC236}">
                  <a16:creationId xmlns:a16="http://schemas.microsoft.com/office/drawing/2014/main" id="{5688464F-C48A-4F62-97E1-E717A76F030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12" name="Picture 11" descr="Logo&#10;&#10;Description automatically generated">
              <a:extLst>
                <a:ext uri="{FF2B5EF4-FFF2-40B4-BE49-F238E27FC236}">
                  <a16:creationId xmlns:a16="http://schemas.microsoft.com/office/drawing/2014/main" id="{3DBC0AA5-6153-434E-A0C9-A5D940745C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13" name="Picture 12" descr="Logo&#10;&#10;Description automatically generated">
              <a:extLst>
                <a:ext uri="{FF2B5EF4-FFF2-40B4-BE49-F238E27FC236}">
                  <a16:creationId xmlns:a16="http://schemas.microsoft.com/office/drawing/2014/main" id="{809B7D2B-5280-4ED4-B112-B6C654C52EF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14" name="Picture 13" descr="Icon&#10;&#10;Description automatically generated">
              <a:extLst>
                <a:ext uri="{FF2B5EF4-FFF2-40B4-BE49-F238E27FC236}">
                  <a16:creationId xmlns:a16="http://schemas.microsoft.com/office/drawing/2014/main" id="{B338E268-56D8-4524-BB26-DA84FEEF86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9" name="Graphic 18">
            <a:extLst>
              <a:ext uri="{FF2B5EF4-FFF2-40B4-BE49-F238E27FC236}">
                <a16:creationId xmlns:a16="http://schemas.microsoft.com/office/drawing/2014/main" id="{D7CE8814-2E6C-49B9-A2A8-80AB288D9AA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14161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Public</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998476" y="2881529"/>
            <a:ext cx="20232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6" name="Graphic 15">
            <a:extLst>
              <a:ext uri="{FF2B5EF4-FFF2-40B4-BE49-F238E27FC236}">
                <a16:creationId xmlns:a16="http://schemas.microsoft.com/office/drawing/2014/main" id="{316E0CBF-F67B-4988-A694-3CA5B79E65D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4478150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grpSp>
        <p:nvGrpSpPr>
          <p:cNvPr id="17" name="Group 16">
            <a:extLst>
              <a:ext uri="{FF2B5EF4-FFF2-40B4-BE49-F238E27FC236}">
                <a16:creationId xmlns:a16="http://schemas.microsoft.com/office/drawing/2014/main" id="{56B15E2D-58A0-4506-8A15-E27C173174FA}"/>
              </a:ext>
            </a:extLst>
          </p:cNvPr>
          <p:cNvGrpSpPr/>
          <p:nvPr userDrawn="1"/>
        </p:nvGrpSpPr>
        <p:grpSpPr>
          <a:xfrm>
            <a:off x="2999643" y="1731971"/>
            <a:ext cx="2177326" cy="411225"/>
            <a:chOff x="2992848" y="1717717"/>
            <a:chExt cx="2177326" cy="411225"/>
          </a:xfrm>
        </p:grpSpPr>
        <p:sp>
          <p:nvSpPr>
            <p:cNvPr id="8" name="Rectangle 7">
              <a:extLst>
                <a:ext uri="{FF2B5EF4-FFF2-40B4-BE49-F238E27FC236}">
                  <a16:creationId xmlns:a16="http://schemas.microsoft.com/office/drawing/2014/main" id="{A2309040-9C95-48FE-AA99-4757E8328519}"/>
                </a:ext>
              </a:extLst>
            </p:cNvPr>
            <p:cNvSpPr/>
            <p:nvPr userDrawn="1"/>
          </p:nvSpPr>
          <p:spPr>
            <a:xfrm>
              <a:off x="2992848" y="1717717"/>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02518"/>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gr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grpSp>
        <p:nvGrpSpPr>
          <p:cNvPr id="18" name="Group 17">
            <a:extLst>
              <a:ext uri="{FF2B5EF4-FFF2-40B4-BE49-F238E27FC236}">
                <a16:creationId xmlns:a16="http://schemas.microsoft.com/office/drawing/2014/main" id="{2356161F-C4E7-4F32-B00D-D64EBA9D34CA}"/>
              </a:ext>
            </a:extLst>
          </p:cNvPr>
          <p:cNvGrpSpPr/>
          <p:nvPr userDrawn="1"/>
        </p:nvGrpSpPr>
        <p:grpSpPr>
          <a:xfrm>
            <a:off x="998351" y="3783824"/>
            <a:ext cx="2177326" cy="1433953"/>
            <a:chOff x="998351" y="4298384"/>
            <a:chExt cx="2177326" cy="1433953"/>
          </a:xfrm>
        </p:grpSpPr>
        <p:sp>
          <p:nvSpPr>
            <p:cNvPr id="20" name="Rectangle 19">
              <a:extLst>
                <a:ext uri="{FF2B5EF4-FFF2-40B4-BE49-F238E27FC236}">
                  <a16:creationId xmlns:a16="http://schemas.microsoft.com/office/drawing/2014/main" id="{6453D312-00EF-44B5-9D91-290BE0E19654}"/>
                </a:ext>
              </a:extLst>
            </p:cNvPr>
            <p:cNvSpPr/>
            <p:nvPr userDrawn="1"/>
          </p:nvSpPr>
          <p:spPr>
            <a:xfrm>
              <a:off x="998351" y="429838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81294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532111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5408191"/>
              <a:ext cx="1253995"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gr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38957"/>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80" y="2852903"/>
            <a:ext cx="714476"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80" y="1830789"/>
            <a:ext cx="714476"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80" y="3363960"/>
            <a:ext cx="714476"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80" y="3875017"/>
            <a:ext cx="714476"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80" y="2341846"/>
            <a:ext cx="714476"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100206" y="2869887"/>
            <a:ext cx="1709098"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a:t>
            </a:r>
            <a:r>
              <a:rPr lang="en-GB" sz="1000" b="0" err="1">
                <a:solidFill>
                  <a:sysClr val="windowText" lastClr="000000"/>
                </a:solidFill>
              </a:rPr>
              <a:t>colors</a:t>
            </a:r>
            <a:r>
              <a:rPr lang="en-GB" sz="1000" b="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a:spLocks/>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5" y="4389395"/>
            <a:ext cx="714476"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64" name="TextBox 63">
            <a:extLst>
              <a:ext uri="{FF2B5EF4-FFF2-40B4-BE49-F238E27FC236}">
                <a16:creationId xmlns:a16="http://schemas.microsoft.com/office/drawing/2014/main"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73" name="Rectangle 72">
            <a:extLst>
              <a:ext uri="{FF2B5EF4-FFF2-40B4-BE49-F238E27FC236}">
                <a16:creationId xmlns:a16="http://schemas.microsoft.com/office/drawing/2014/main"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0" name="Rectangle 79">
            <a:extLst>
              <a:ext uri="{FF2B5EF4-FFF2-40B4-BE49-F238E27FC236}">
                <a16:creationId xmlns:a16="http://schemas.microsoft.com/office/drawing/2014/main"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1" name="Rectangle 80">
            <a:extLst>
              <a:ext uri="{FF2B5EF4-FFF2-40B4-BE49-F238E27FC236}">
                <a16:creationId xmlns:a16="http://schemas.microsoft.com/office/drawing/2014/main"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8" name="TextBox 87">
            <a:extLst>
              <a:ext uri="{FF2B5EF4-FFF2-40B4-BE49-F238E27FC236}">
                <a16:creationId xmlns:a16="http://schemas.microsoft.com/office/drawing/2014/main"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90" name="Rectangle 89">
              <a:extLst>
                <a:ext uri="{FF2B5EF4-FFF2-40B4-BE49-F238E27FC236}">
                  <a16:creationId xmlns:a16="http://schemas.microsoft.com/office/drawing/2014/main"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91" name="Rectangle 90">
              <a:extLst>
                <a:ext uri="{FF2B5EF4-FFF2-40B4-BE49-F238E27FC236}">
                  <a16:creationId xmlns:a16="http://schemas.microsoft.com/office/drawing/2014/main"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2" name="Rectangle 91">
              <a:extLst>
                <a:ext uri="{FF2B5EF4-FFF2-40B4-BE49-F238E27FC236}">
                  <a16:creationId xmlns:a16="http://schemas.microsoft.com/office/drawing/2014/main"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93" name="Rectangle 92">
              <a:extLst>
                <a:ext uri="{FF2B5EF4-FFF2-40B4-BE49-F238E27FC236}">
                  <a16:creationId xmlns:a16="http://schemas.microsoft.com/office/drawing/2014/main"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Rectangle 93">
              <a:extLst>
                <a:ext uri="{FF2B5EF4-FFF2-40B4-BE49-F238E27FC236}">
                  <a16:creationId xmlns:a16="http://schemas.microsoft.com/office/drawing/2014/main"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5" name="Rectangle 94">
              <a:extLst>
                <a:ext uri="{FF2B5EF4-FFF2-40B4-BE49-F238E27FC236}">
                  <a16:creationId xmlns:a16="http://schemas.microsoft.com/office/drawing/2014/main"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96" name="Rectangle 95">
              <a:extLst>
                <a:ext uri="{FF2B5EF4-FFF2-40B4-BE49-F238E27FC236}">
                  <a16:creationId xmlns:a16="http://schemas.microsoft.com/office/drawing/2014/main"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97" name="Rectangle 96">
              <a:extLst>
                <a:ext uri="{FF2B5EF4-FFF2-40B4-BE49-F238E27FC236}">
                  <a16:creationId xmlns:a16="http://schemas.microsoft.com/office/drawing/2014/main"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98" name="Rectangle 97">
              <a:extLst>
                <a:ext uri="{FF2B5EF4-FFF2-40B4-BE49-F238E27FC236}">
                  <a16:creationId xmlns:a16="http://schemas.microsoft.com/office/drawing/2014/main"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9" name="Rectangle 98">
              <a:extLst>
                <a:ext uri="{FF2B5EF4-FFF2-40B4-BE49-F238E27FC236}">
                  <a16:creationId xmlns:a16="http://schemas.microsoft.com/office/drawing/2014/main"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0" name="Rectangle 99">
              <a:extLst>
                <a:ext uri="{FF2B5EF4-FFF2-40B4-BE49-F238E27FC236}">
                  <a16:creationId xmlns:a16="http://schemas.microsoft.com/office/drawing/2014/main"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01" name="Rectangle 100">
              <a:extLst>
                <a:ext uri="{FF2B5EF4-FFF2-40B4-BE49-F238E27FC236}">
                  <a16:creationId xmlns:a16="http://schemas.microsoft.com/office/drawing/2014/main"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02" name="Rectangle 101">
              <a:extLst>
                <a:ext uri="{FF2B5EF4-FFF2-40B4-BE49-F238E27FC236}">
                  <a16:creationId xmlns:a16="http://schemas.microsoft.com/office/drawing/2014/main"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90B7A897-5A26-41CB-AEE5-250C628151A3}"/>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B8B3C09-FAB2-429B-938C-E7850406596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EA9BF5FA-A218-4481-9952-70E809F83381}"/>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D6537B35-1388-4BAF-9520-9BDE0CCA2FD2}"/>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D8B9F63F-C8B5-4C95-9816-589FF270249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5426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2F8830-4F74-4E7B-8634-A831C07B4D86}"/>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9" name="Shape 8">
            <a:extLst>
              <a:ext uri="{FF2B5EF4-FFF2-40B4-BE49-F238E27FC236}">
                <a16:creationId xmlns:a16="http://schemas.microsoft.com/office/drawing/2014/main" id="{095959D6-539D-4DBA-A407-486EBC7BD27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99DFC671-4434-4988-9BE6-E6E05C1E905C}"/>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tx2"/>
                </a:solidFill>
                <a:latin typeface="+mn-lt"/>
                <a:ea typeface="+mn-ea"/>
                <a:cs typeface="+mn-cs"/>
              </a:rPr>
              <a:t>Document Classification: KPMG Public</a:t>
            </a:r>
          </a:p>
        </p:txBody>
      </p:sp>
      <p:sp>
        <p:nvSpPr>
          <p:cNvPr id="12" name="TextBox 11">
            <a:extLst>
              <a:ext uri="{FF2B5EF4-FFF2-40B4-BE49-F238E27FC236}">
                <a16:creationId xmlns:a16="http://schemas.microsoft.com/office/drawing/2014/main" id="{B738A5EF-7113-4975-A890-492075EFAA0A}"/>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tx2"/>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9A2598B6-5992-4ED7-A56F-E61779FCAAAD}"/>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id="{CAAB85AA-9E5A-4C61-B424-F7AF53548327}"/>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87199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id="{178F7078-5FAB-4923-B594-5A3AB65111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6993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483AC7-339F-48D4-9AB4-3046D5749CB9}"/>
              </a:ext>
            </a:extLst>
          </p:cNvPr>
          <p:cNvSpPr/>
          <p:nvPr userDrawn="1"/>
        </p:nvSpPr>
        <p:spPr>
          <a:xfrm>
            <a:off x="1004888" y="762000"/>
            <a:ext cx="7367587" cy="5117796"/>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9" name="Graphic 8">
            <a:extLst>
              <a:ext uri="{FF2B5EF4-FFF2-40B4-BE49-F238E27FC236}">
                <a16:creationId xmlns:a16="http://schemas.microsoft.com/office/drawing/2014/main" id="{D28B896E-27F6-49D5-8E14-861D71D86A49}"/>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A564A7DC-07A4-43BD-BDC8-DCD851D6E6B3}"/>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Public</a:t>
            </a:r>
          </a:p>
        </p:txBody>
      </p:sp>
      <p:sp>
        <p:nvSpPr>
          <p:cNvPr id="15" name="TextBox 14">
            <a:extLst>
              <a:ext uri="{FF2B5EF4-FFF2-40B4-BE49-F238E27FC236}">
                <a16:creationId xmlns:a16="http://schemas.microsoft.com/office/drawing/2014/main" id="{7CB90D9F-91A1-43F6-9146-83692170A3BC}"/>
              </a:ext>
              <a:ext uri="{C183D7F6-B498-43B3-948B-1728B52AA6E4}">
                <adec:decorative xmlns:adec="http://schemas.microsoft.com/office/drawing/2017/decorative" val="1"/>
              </a:ext>
            </a:extLst>
          </p:cNvPr>
          <p:cNvSpPr txBox="1"/>
          <p:nvPr userDrawn="1"/>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6" name="Straight Connector 15">
            <a:extLst>
              <a:ext uri="{FF2B5EF4-FFF2-40B4-BE49-F238E27FC236}">
                <a16:creationId xmlns:a16="http://schemas.microsoft.com/office/drawing/2014/main" id="{4D7D7CF2-0F24-42C5-950D-8831C090846B}"/>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8">
            <a:extLst>
              <a:ext uri="{FF2B5EF4-FFF2-40B4-BE49-F238E27FC236}">
                <a16:creationId xmlns:a16="http://schemas.microsoft.com/office/drawing/2014/main" id="{FA7C57B7-3139-4227-860D-62744E80075C}"/>
              </a:ext>
            </a:extLst>
          </p:cNvPr>
          <p:cNvSpPr txBox="1">
            <a:spLocks/>
          </p:cNvSpPr>
          <p:nvPr userDrawn="1"/>
        </p:nvSpPr>
        <p:spPr>
          <a:xfrm>
            <a:off x="11099007" y="64193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0" name="TextBox 19">
            <a:extLst>
              <a:ext uri="{FF2B5EF4-FFF2-40B4-BE49-F238E27FC236}">
                <a16:creationId xmlns:a16="http://schemas.microsoft.com/office/drawing/2014/main" id="{A266A7FB-075A-4AE6-86C7-092AFE2A545E}"/>
              </a:ext>
              <a:ext uri="{C183D7F6-B498-43B3-948B-1728B52AA6E4}">
                <adec:decorative xmlns:adec="http://schemas.microsoft.com/office/drawing/2017/decorative" val="1"/>
              </a:ext>
            </a:extLst>
          </p:cNvPr>
          <p:cNvSpPr txBox="1"/>
          <p:nvPr userDrawn="1">
            <p:custDataLst>
              <p:tags r:id="rId2"/>
            </p:custDataLst>
          </p:nvPr>
        </p:nvSpPr>
        <p:spPr>
          <a:xfrm>
            <a:off x="9120194" y="64479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Public</a:t>
            </a:r>
          </a:p>
        </p:txBody>
      </p:sp>
      <p:sp>
        <p:nvSpPr>
          <p:cNvPr id="21" name="TextBox 20">
            <a:extLst>
              <a:ext uri="{FF2B5EF4-FFF2-40B4-BE49-F238E27FC236}">
                <a16:creationId xmlns:a16="http://schemas.microsoft.com/office/drawing/2014/main" id="{9476F0CC-8F6E-44D5-8FBB-3E2FA1E0313B}"/>
              </a:ext>
              <a:ext uri="{C183D7F6-B498-43B3-948B-1728B52AA6E4}">
                <adec:decorative xmlns:adec="http://schemas.microsoft.com/office/drawing/2017/decorative" val="1"/>
              </a:ext>
            </a:extLst>
          </p:cNvPr>
          <p:cNvSpPr txBox="1"/>
          <p:nvPr userDrawn="1"/>
        </p:nvSpPr>
        <p:spPr>
          <a:xfrm>
            <a:off x="2038085" y="64193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24" name="Straight Connector 23">
            <a:extLst>
              <a:ext uri="{FF2B5EF4-FFF2-40B4-BE49-F238E27FC236}">
                <a16:creationId xmlns:a16="http://schemas.microsoft.com/office/drawing/2014/main" id="{784B0381-9719-4838-A466-2F6CF091D42B}"/>
              </a:ext>
            </a:extLst>
          </p:cNvPr>
          <p:cNvCxnSpPr/>
          <p:nvPr userDrawn="1"/>
        </p:nvCxnSpPr>
        <p:spPr>
          <a:xfrm>
            <a:off x="11080948" y="64193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313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5895EE-9734-42B7-B030-4BEC826778B9}"/>
              </a:ext>
            </a:extLst>
          </p:cNvPr>
          <p:cNvPicPr>
            <a:picLocks noChangeAspect="1"/>
          </p:cNvPicPr>
          <p:nvPr userDrawn="1"/>
        </p:nvPicPr>
        <p:blipFill>
          <a:blip r:embed="rId3"/>
          <a:stretch>
            <a:fillRect/>
          </a:stretch>
        </p:blipFill>
        <p:spPr>
          <a:xfrm>
            <a:off x="-4110" y="0"/>
            <a:ext cx="12196109" cy="686336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5910"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23" name="TextBox 22">
            <a:extLst>
              <a:ext uri="{FF2B5EF4-FFF2-40B4-BE49-F238E27FC236}">
                <a16:creationId xmlns:a16="http://schemas.microsoft.com/office/drawing/2014/main" id="{F88E299F-36DD-488D-AE8F-7D4E68D09966}"/>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600" b="0" kern="1200" noProof="0">
                <a:solidFill>
                  <a:schemeClr val="bg1">
                    <a:lumMod val="65000"/>
                  </a:schemeClr>
                </a:solidFill>
                <a:latin typeface="+mn-lt"/>
                <a:ea typeface="+mn-ea"/>
                <a:cs typeface="+mn-cs"/>
              </a:rPr>
              <a:t>IT Advisory: </a:t>
            </a:r>
            <a:r>
              <a:rPr lang="en-US" sz="600" b="0" kern="1200">
                <a:solidFill>
                  <a:schemeClr val="bg1">
                    <a:lumMod val="65000"/>
                  </a:schemeClr>
                </a:solidFill>
                <a:latin typeface="+mn-lt"/>
                <a:ea typeface="+mn-ea"/>
                <a:cs typeface="+mn-cs"/>
              </a:rPr>
              <a:t>New vision, new line of services</a:t>
            </a:r>
            <a:endParaRPr lang="fr-FR" sz="600" b="0" kern="1200" noProof="0">
              <a:solidFill>
                <a:schemeClr val="bg1">
                  <a:lumMod val="65000"/>
                </a:schemeClr>
              </a:solidFill>
              <a:latin typeface="+mn-lt"/>
              <a:ea typeface="+mn-ea"/>
              <a:cs typeface="+mn-cs"/>
            </a:endParaRPr>
          </a:p>
        </p:txBody>
      </p:sp>
      <p:sp>
        <p:nvSpPr>
          <p:cNvPr id="25" name="TextBox 24">
            <a:extLst>
              <a:ext uri="{FF2B5EF4-FFF2-40B4-BE49-F238E27FC236}">
                <a16:creationId xmlns:a16="http://schemas.microsoft.com/office/drawing/2014/main" id="{FAC32650-1A1E-4438-8EB0-88F6AE4DEE0C}"/>
              </a:ext>
              <a:ext uri="{C183D7F6-B498-43B3-948B-1728B52AA6E4}">
                <adec:decorative xmlns:adec="http://schemas.microsoft.com/office/drawing/2017/decorative" val="1"/>
              </a:ext>
            </a:extLst>
          </p:cNvPr>
          <p:cNvSpPr txBox="1"/>
          <p:nvPr userDrawn="1"/>
        </p:nvSpPr>
        <p:spPr>
          <a:xfrm>
            <a:off x="1885685" y="6266997"/>
            <a:ext cx="462306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2 KPMG </a:t>
            </a:r>
            <a:r>
              <a:rPr lang="en-US" sz="600" kern="1200" noProof="0" err="1">
                <a:solidFill>
                  <a:schemeClr val="bg1">
                    <a:lumMod val="65000"/>
                  </a:schemeClr>
                </a:solidFill>
                <a:latin typeface="+mn-lt"/>
                <a:ea typeface="+mn-ea"/>
                <a:cs typeface="+mn-cs"/>
              </a:rPr>
              <a:t>Entreprises</a:t>
            </a:r>
            <a:r>
              <a:rPr lang="en-US" sz="600" kern="1200" noProof="0">
                <a:solidFill>
                  <a:schemeClr val="bg1">
                    <a:lumMod val="65000"/>
                  </a:schemeClr>
                </a:solidFill>
                <a:latin typeface="+mn-lt"/>
                <a:ea typeface="+mn-ea"/>
                <a:cs typeface="+mn-cs"/>
              </a:rPr>
              <a:t>, a Tunisian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8">
            <a:extLst>
              <a:ext uri="{FF2B5EF4-FFF2-40B4-BE49-F238E27FC236}">
                <a16:creationId xmlns:a16="http://schemas.microsoft.com/office/drawing/2014/main" id="{92C56E33-D809-4537-841C-C9A7A931650E}"/>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1765104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TEXT + Sec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8242" y="1273094"/>
            <a:ext cx="5344077" cy="4932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39678" y="1273094"/>
            <a:ext cx="5342268" cy="4932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AU"/>
          </a:p>
        </p:txBody>
      </p:sp>
      <p:sp>
        <p:nvSpPr>
          <p:cNvPr id="8" name="Text Placeholder 4"/>
          <p:cNvSpPr>
            <a:spLocks noGrp="1"/>
          </p:cNvSpPr>
          <p:nvPr>
            <p:ph type="body" sz="quarter" idx="12"/>
          </p:nvPr>
        </p:nvSpPr>
        <p:spPr>
          <a:xfrm>
            <a:off x="608242" y="216593"/>
            <a:ext cx="10973705" cy="139604"/>
          </a:xfrm>
        </p:spPr>
        <p:txBody>
          <a:bodyPr anchor="t">
            <a:spAutoFit/>
          </a:bodyPr>
          <a:lstStyle>
            <a:lvl1pPr>
              <a:spcAft>
                <a:spcPts val="0"/>
              </a:spcAft>
              <a:defRPr sz="907" b="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266039630"/>
      </p:ext>
    </p:extLst>
  </p:cSld>
  <p:clrMapOvr>
    <a:masterClrMapping/>
  </p:clrMapOvr>
  <p:extLst>
    <p:ext uri="{DCECCB84-F9BA-43D5-87BE-67443E8EF086}">
      <p15:sldGuideLst xmlns:p15="http://schemas.microsoft.com/office/powerpoint/2012/main">
        <p15:guide id="1" pos="4232">
          <p15:clr>
            <a:srgbClr val="FBAE40"/>
          </p15:clr>
        </p15:guide>
        <p15:guide id="2" pos="4332">
          <p15:clr>
            <a:srgbClr val="FBAE40"/>
          </p15:clr>
        </p15:guide>
        <p15:guide id="3" pos="413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2" name="Picture 1" descr="Low angle view of modern skyscrapers rising straight up against a dramatic sky">
            <a:extLst>
              <a:ext uri="{FF2B5EF4-FFF2-40B4-BE49-F238E27FC236}">
                <a16:creationId xmlns:a16="http://schemas.microsoft.com/office/drawing/2014/main" id="{E3210D1C-D6D6-871B-2FFE-9AC030E44CC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Graphic 7">
            <a:extLst>
              <a:ext uri="{FF2B5EF4-FFF2-40B4-BE49-F238E27FC236}">
                <a16:creationId xmlns:a16="http://schemas.microsoft.com/office/drawing/2014/main" id="{484E6626-FD7E-4C63-8D13-D66A8A348CF0}"/>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
        <p:nvSpPr>
          <p:cNvPr id="10" name="Title 1">
            <a:extLst>
              <a:ext uri="{FF2B5EF4-FFF2-40B4-BE49-F238E27FC236}">
                <a16:creationId xmlns:a16="http://schemas.microsoft.com/office/drawing/2014/main" id="{0B30C48B-685A-4627-8230-DBBFCD3E6048}"/>
              </a:ext>
            </a:extLst>
          </p:cNvPr>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Text Placeholder 3">
            <a:extLst>
              <a:ext uri="{FF2B5EF4-FFF2-40B4-BE49-F238E27FC236}">
                <a16:creationId xmlns:a16="http://schemas.microsoft.com/office/drawing/2014/main" id="{883A02BE-49C7-41EC-A224-F228B39F3B56}"/>
              </a:ext>
            </a:extLst>
          </p:cNvPr>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5231381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8C22B7E-730E-4FA3-AEBD-0EC53A300157}"/>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5BDBF24D-4D2F-42A4-AD1C-43B70FC5B5DE}"/>
              </a:ext>
            </a:extLst>
          </p:cNvPr>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Text Placeholder 3">
            <a:extLst>
              <a:ext uri="{FF2B5EF4-FFF2-40B4-BE49-F238E27FC236}">
                <a16:creationId xmlns:a16="http://schemas.microsoft.com/office/drawing/2014/main" id="{EC8AEEAC-DFBC-44E5-A1A3-F209B8C054DE}"/>
              </a:ext>
            </a:extLst>
          </p:cNvPr>
          <p:cNvSpPr>
            <a:spLocks noGrp="1"/>
          </p:cNvSpPr>
          <p:nvPr>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EF0DAB2D-E302-48A2-9568-49B2734ACB9D}"/>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217525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DEB4B6-682E-4009-89BC-CB154E8DC002}"/>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2" name="Text Placeholder 3">
            <a:extLst>
              <a:ext uri="{FF2B5EF4-FFF2-40B4-BE49-F238E27FC236}">
                <a16:creationId xmlns:a16="http://schemas.microsoft.com/office/drawing/2014/main" id="{ABABE048-BB93-46AF-B21F-692455B275EB}"/>
              </a:ext>
            </a:extLst>
          </p:cNvPr>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Title 9">
            <a:extLst>
              <a:ext uri="{FF2B5EF4-FFF2-40B4-BE49-F238E27FC236}">
                <a16:creationId xmlns:a16="http://schemas.microsoft.com/office/drawing/2014/main" id="{9B4976CB-3107-403A-8E4C-49D73E5523E8}"/>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pic>
        <p:nvPicPr>
          <p:cNvPr id="14" name="Graphic 13">
            <a:extLst>
              <a:ext uri="{FF2B5EF4-FFF2-40B4-BE49-F238E27FC236}">
                <a16:creationId xmlns:a16="http://schemas.microsoft.com/office/drawing/2014/main" id="{3F974C88-37FD-486C-A053-2B6EC15FFE41}"/>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30040602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E2D7F6-77EE-4A84-A347-E3DE3770F560}"/>
              </a:ext>
            </a:extLst>
          </p:cNvPr>
          <p:cNvGrpSpPr/>
          <p:nvPr userDrawn="1"/>
        </p:nvGrpSpPr>
        <p:grpSpPr>
          <a:xfrm>
            <a:off x="998476" y="0"/>
            <a:ext cx="911399" cy="1485244"/>
            <a:chOff x="1008000" y="0"/>
            <a:chExt cx="911399" cy="1485244"/>
          </a:xfrm>
          <a:solidFill>
            <a:schemeClr val="bg1">
              <a:alpha val="0"/>
            </a:schemeClr>
          </a:solidFill>
        </p:grpSpPr>
        <p:sp>
          <p:nvSpPr>
            <p:cNvPr id="11" name="Freeform 19">
              <a:extLst>
                <a:ext uri="{FF2B5EF4-FFF2-40B4-BE49-F238E27FC236}">
                  <a16:creationId xmlns:a16="http://schemas.microsoft.com/office/drawing/2014/main" id="{A38D1D5C-300B-4EC8-97CB-72C6B7A7CC70}"/>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D721161A-007B-4922-864A-502861C248B2}"/>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9">
              <a:extLst>
                <a:ext uri="{FF2B5EF4-FFF2-40B4-BE49-F238E27FC236}">
                  <a16:creationId xmlns:a16="http://schemas.microsoft.com/office/drawing/2014/main" id="{23EB2905-098A-41C5-AB65-063729C54D07}"/>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Rectangle 13">
            <a:extLst>
              <a:ext uri="{FF2B5EF4-FFF2-40B4-BE49-F238E27FC236}">
                <a16:creationId xmlns:a16="http://schemas.microsoft.com/office/drawing/2014/main" id="{933C2314-88FE-4413-B812-D2D4A2998E5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5" name="Text Placeholder 3">
            <a:extLst>
              <a:ext uri="{FF2B5EF4-FFF2-40B4-BE49-F238E27FC236}">
                <a16:creationId xmlns:a16="http://schemas.microsoft.com/office/drawing/2014/main" id="{EC91CE7F-7855-470E-A1C6-7B98C9783C0D}"/>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633FD179-5843-4777-B4EF-2C33EA14278A}"/>
              </a:ext>
            </a:extLst>
          </p:cNvPr>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pic>
        <p:nvPicPr>
          <p:cNvPr id="17" name="Graphic 16">
            <a:extLst>
              <a:ext uri="{FF2B5EF4-FFF2-40B4-BE49-F238E27FC236}">
                <a16:creationId xmlns:a16="http://schemas.microsoft.com/office/drawing/2014/main" id="{178F7078-5FAB-4923-B594-5A3AB6511170}"/>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587188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8C1EA9FA-4164-4EF7-8EA1-6A4010273A3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3760992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27C17CDB-6172-4525-81E9-4F0C8DBBA439}"/>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12111758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0A13EE70-222E-4A80-9783-F68F00B7D3A3}"/>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953882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5F7AF648-E8C1-435F-A91F-1FCE26666A35}"/>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
        <p:nvSpPr>
          <p:cNvPr id="10" name="Title 1">
            <a:extLst>
              <a:ext uri="{FF2B5EF4-FFF2-40B4-BE49-F238E27FC236}">
                <a16:creationId xmlns:a16="http://schemas.microsoft.com/office/drawing/2014/main" id="{499E02FE-A18D-433A-B7C5-66327044D5E4}"/>
              </a:ext>
            </a:extLst>
          </p:cNvPr>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1" name="Freeform 19">
            <a:extLst>
              <a:ext uri="{FF2B5EF4-FFF2-40B4-BE49-F238E27FC236}">
                <a16:creationId xmlns:a16="http://schemas.microsoft.com/office/drawing/2014/main" id="{4255FB05-4B59-458B-8EFD-8DCE3678F322}"/>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9">
            <a:extLst>
              <a:ext uri="{FF2B5EF4-FFF2-40B4-BE49-F238E27FC236}">
                <a16:creationId xmlns:a16="http://schemas.microsoft.com/office/drawing/2014/main" id="{64C954ED-B10B-4AF2-833F-37E615D34396}"/>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Text Placeholder 3">
            <a:extLst>
              <a:ext uri="{FF2B5EF4-FFF2-40B4-BE49-F238E27FC236}">
                <a16:creationId xmlns:a16="http://schemas.microsoft.com/office/drawing/2014/main" id="{2BD4AB80-538F-43A3-8C4D-16CCBDE87A19}"/>
              </a:ext>
            </a:extLst>
          </p:cNvPr>
          <p:cNvSpPr>
            <a:spLocks noGrp="1"/>
          </p:cNvSpPr>
          <p:nvPr>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8C1EA9FA-4164-4EF7-8EA1-6A4010273A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Tree>
    <p:extLst>
      <p:ext uri="{BB962C8B-B14F-4D97-AF65-F5344CB8AC3E}">
        <p14:creationId xmlns:p14="http://schemas.microsoft.com/office/powerpoint/2010/main" val="40333620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id="{2295ABE6-9B30-4315-B16F-C7442D3C71F3}"/>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8148350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cxnSp>
        <p:nvCxnSpPr>
          <p:cNvPr id="2" name="Straight Connector 1">
            <a:extLst>
              <a:ext uri="{FF2B5EF4-FFF2-40B4-BE49-F238E27FC236}">
                <a16:creationId xmlns:a16="http://schemas.microsoft.com/office/drawing/2014/main" id="{3A483E12-3229-F0F4-D7B4-D5FE98D87C99}"/>
              </a:ext>
            </a:extLst>
          </p:cNvPr>
          <p:cNvCxnSpPr/>
          <p:nvPr userDrawn="1"/>
        </p:nvCxnSpPr>
        <p:spPr>
          <a:xfrm>
            <a:off x="1082713" y="6202016"/>
            <a:ext cx="1018589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8650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247659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6709268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9"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402470002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ue background">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5915744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602584" y="1440000"/>
            <a:ext cx="10988308" cy="460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p:nvPr>
        </p:nvSpPr>
        <p:spPr>
          <a:xfrm>
            <a:off x="602584" y="451575"/>
            <a:ext cx="10988308"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02585" y="180000"/>
            <a:ext cx="10987631" cy="252000"/>
          </a:xfrm>
        </p:spPr>
        <p:txBody>
          <a:bodyPr vert="horz" lIns="0" tIns="36000" rIns="36000" bIns="36000" rtlCol="0" anchor="b" anchorCtr="0">
            <a:noAutofit/>
          </a:bodyPr>
          <a:lstStyle>
            <a:lvl1pPr>
              <a:spcAft>
                <a:spcPts val="0"/>
              </a:spcAft>
              <a:defRPr lang="en-US" sz="1200" b="0" dirty="0" smtClean="0">
                <a:solidFill>
                  <a:schemeClr val="bg1">
                    <a:lumMod val="65000"/>
                  </a:schemeClr>
                </a:solidFill>
              </a:defRPr>
            </a:lvl1pPr>
            <a:lvl2pPr>
              <a:defRPr sz="1200">
                <a:solidFill>
                  <a:schemeClr val="bg1">
                    <a:lumMod val="65000"/>
                  </a:schemeClr>
                </a:solidFill>
              </a:defRPr>
            </a:lvl2pPr>
            <a:lvl3pPr marL="0" indent="0">
              <a:buNone/>
              <a:defRPr sz="1200">
                <a:solidFill>
                  <a:schemeClr val="bg1">
                    <a:lumMod val="65000"/>
                  </a:schemeClr>
                </a:solidFill>
              </a:defRPr>
            </a:lvl3pPr>
            <a:lvl4pPr marL="0" indent="0">
              <a:buNone/>
              <a:defRPr sz="1200">
                <a:solidFill>
                  <a:schemeClr val="bg1">
                    <a:lumMod val="65000"/>
                  </a:schemeClr>
                </a:solidFill>
              </a:defRPr>
            </a:lvl4pPr>
          </a:lstStyle>
          <a:p>
            <a:pPr lvl="0">
              <a:spcAft>
                <a:spcPts val="0"/>
              </a:spcAft>
            </a:pPr>
            <a:r>
              <a:rPr lang="en-US"/>
              <a:t>Super title here – ignore when not needed or add space</a:t>
            </a:r>
          </a:p>
        </p:txBody>
      </p:sp>
      <p:sp>
        <p:nvSpPr>
          <p:cNvPr id="3" name="Rectangle 2"/>
          <p:cNvSpPr/>
          <p:nvPr userDrawn="1"/>
        </p:nvSpPr>
        <p:spPr>
          <a:xfrm>
            <a:off x="3908" y="6061076"/>
            <a:ext cx="12188092" cy="79692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000" b="1">
              <a:solidFill>
                <a:schemeClr val="bg1"/>
              </a:solidFill>
            </a:endParaRPr>
          </a:p>
        </p:txBody>
      </p:sp>
      <p:sp>
        <p:nvSpPr>
          <p:cNvPr id="7" name="Shape 8"/>
          <p:cNvSpPr txBox="1">
            <a:spLocks/>
          </p:cNvSpPr>
          <p:nvPr userDrawn="1"/>
        </p:nvSpPr>
        <p:spPr>
          <a:xfrm>
            <a:off x="11110031" y="6320118"/>
            <a:ext cx="480062"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bg1"/>
                </a:solidFill>
                <a:latin typeface="+mn-lt"/>
                <a:ea typeface="Arial"/>
                <a:cs typeface="Arial" panose="020B0604020202020204" pitchFamily="34" charset="0"/>
              </a:rPr>
              <a:pPr algn="r"/>
              <a:t>‹#›</a:t>
            </a:fld>
            <a:endParaRPr lang="en-US" sz="900">
              <a:solidFill>
                <a:schemeClr val="bg1"/>
              </a:solidFill>
              <a:latin typeface="+mn-lt"/>
              <a:ea typeface="Arial"/>
              <a:cs typeface="Arial" panose="020B0604020202020204" pitchFamily="34" charset="0"/>
            </a:endParaRPr>
          </a:p>
        </p:txBody>
      </p:sp>
      <p:sp>
        <p:nvSpPr>
          <p:cNvPr id="8" name="Freeform 19"/>
          <p:cNvSpPr>
            <a:spLocks noEditPoints="1"/>
          </p:cNvSpPr>
          <p:nvPr userDrawn="1"/>
        </p:nvSpPr>
        <p:spPr bwMode="auto">
          <a:xfrm>
            <a:off x="601785" y="6320118"/>
            <a:ext cx="522831"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4" name="TextBox 3">
            <a:extLst>
              <a:ext uri="{FF2B5EF4-FFF2-40B4-BE49-F238E27FC236}">
                <a16:creationId xmlns:a16="http://schemas.microsoft.com/office/drawing/2014/main" id="{8613ABF7-5102-51D7-B5B2-DB1143F0D174}"/>
              </a:ext>
              <a:ext uri="{C183D7F6-B498-43B3-948B-1728B52AA6E4}">
                <adec:decorative xmlns:adec="http://schemas.microsoft.com/office/drawing/2017/decorative" val="1"/>
              </a:ext>
            </a:extLst>
          </p:cNvPr>
          <p:cNvSpPr txBox="1"/>
          <p:nvPr userDrawn="1">
            <p:custDataLst>
              <p:tags r:id="rId2"/>
            </p:custDataLst>
          </p:nvPr>
        </p:nvSpPr>
        <p:spPr>
          <a:xfrm>
            <a:off x="1875745" y="6312825"/>
            <a:ext cx="717880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600" kern="1200" noProof="0">
                <a:solidFill>
                  <a:schemeClr val="bg1"/>
                </a:solidFill>
                <a:latin typeface="+mn-lt"/>
                <a:ea typeface="+mn-ea"/>
                <a:cs typeface="+mn-cs"/>
              </a:rPr>
              <a:t>© 2023 KPMG ENTREPRISES INTERNATIONAL, société à responsabilité limitée de droit tunisien, membre tunisien de l’organisation mondiale KPMG constituée de cabinets indépendants affiliés à KPMG International Limited, une société de droit anglais (« </a:t>
            </a:r>
            <a:r>
              <a:rPr lang="fr-FR" sz="600" kern="1200" noProof="0" err="1">
                <a:solidFill>
                  <a:schemeClr val="bg1"/>
                </a:solidFill>
                <a:latin typeface="+mn-lt"/>
                <a:ea typeface="+mn-ea"/>
                <a:cs typeface="+mn-cs"/>
              </a:rPr>
              <a:t>private</a:t>
            </a:r>
            <a:r>
              <a:rPr lang="fr-FR" sz="600" kern="1200" noProof="0">
                <a:solidFill>
                  <a:schemeClr val="bg1"/>
                </a:solidFill>
                <a:latin typeface="+mn-lt"/>
                <a:ea typeface="+mn-ea"/>
                <a:cs typeface="+mn-cs"/>
              </a:rPr>
              <a:t> </a:t>
            </a:r>
            <a:r>
              <a:rPr lang="fr-FR" sz="600" kern="1200" noProof="0" err="1">
                <a:solidFill>
                  <a:schemeClr val="bg1"/>
                </a:solidFill>
                <a:latin typeface="+mn-lt"/>
                <a:ea typeface="+mn-ea"/>
                <a:cs typeface="+mn-cs"/>
              </a:rPr>
              <a:t>company</a:t>
            </a:r>
            <a:r>
              <a:rPr lang="fr-FR" sz="600" kern="1200" noProof="0">
                <a:solidFill>
                  <a:schemeClr val="bg1"/>
                </a:solidFill>
                <a:latin typeface="+mn-lt"/>
                <a:ea typeface="+mn-ea"/>
                <a:cs typeface="+mn-cs"/>
              </a:rPr>
              <a:t> </a:t>
            </a:r>
            <a:r>
              <a:rPr lang="fr-FR" sz="600" kern="1200" noProof="0" err="1">
                <a:solidFill>
                  <a:schemeClr val="bg1"/>
                </a:solidFill>
                <a:latin typeface="+mn-lt"/>
                <a:ea typeface="+mn-ea"/>
                <a:cs typeface="+mn-cs"/>
              </a:rPr>
              <a:t>limited</a:t>
            </a:r>
            <a:r>
              <a:rPr lang="fr-FR" sz="600" kern="1200" noProof="0">
                <a:solidFill>
                  <a:schemeClr val="bg1"/>
                </a:solidFill>
                <a:latin typeface="+mn-lt"/>
                <a:ea typeface="+mn-ea"/>
                <a:cs typeface="+mn-cs"/>
              </a:rPr>
              <a:t> by </a:t>
            </a:r>
            <a:r>
              <a:rPr lang="fr-FR" sz="600" kern="1200" noProof="0" err="1">
                <a:solidFill>
                  <a:schemeClr val="bg1"/>
                </a:solidFill>
                <a:latin typeface="+mn-lt"/>
                <a:ea typeface="+mn-ea"/>
                <a:cs typeface="+mn-cs"/>
              </a:rPr>
              <a:t>garantee</a:t>
            </a:r>
            <a:r>
              <a:rPr lang="fr-FR" sz="600" kern="1200" noProof="0">
                <a:solidFill>
                  <a:schemeClr val="bg1"/>
                </a:solidFill>
                <a:latin typeface="+mn-lt"/>
                <a:ea typeface="+mn-ea"/>
                <a:cs typeface="+mn-cs"/>
              </a:rPr>
              <a:t> »). Tous droits réservés. Le nom et le logo KPMG sont des marques utilisées sous licence par les cabinets indépendants membres de l’organisation mondiale KPMG. [Imprimé en Tunisie] [A usage interne].</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33477527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8217266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602584" y="1440000"/>
            <a:ext cx="10988308" cy="460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p:cNvSpPr>
          <p:nvPr>
            <p:ph type="title"/>
          </p:nvPr>
        </p:nvSpPr>
        <p:spPr>
          <a:xfrm>
            <a:off x="602584" y="451575"/>
            <a:ext cx="10988308"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602586" y="180000"/>
            <a:ext cx="10987631" cy="252000"/>
          </a:xfrm>
        </p:spPr>
        <p:txBody>
          <a:bodyPr vert="horz" lIns="0" tIns="36000" rIns="36000" bIns="36000" rtlCol="0" anchor="b" anchorCtr="0">
            <a:noAutofit/>
          </a:bodyPr>
          <a:lstStyle>
            <a:lvl1pPr>
              <a:spcAft>
                <a:spcPts val="0"/>
              </a:spcAft>
              <a:defRPr lang="en-US" sz="1108" b="0" dirty="0" smtClean="0">
                <a:solidFill>
                  <a:schemeClr val="bg1">
                    <a:lumMod val="65000"/>
                  </a:schemeClr>
                </a:solidFill>
              </a:defRPr>
            </a:lvl1pPr>
            <a:lvl2pPr>
              <a:defRPr sz="1108">
                <a:solidFill>
                  <a:schemeClr val="bg1">
                    <a:lumMod val="65000"/>
                  </a:schemeClr>
                </a:solidFill>
              </a:defRPr>
            </a:lvl2pPr>
            <a:lvl3pPr marL="0" indent="0">
              <a:buNone/>
              <a:defRPr sz="1108">
                <a:solidFill>
                  <a:schemeClr val="bg1">
                    <a:lumMod val="65000"/>
                  </a:schemeClr>
                </a:solidFill>
              </a:defRPr>
            </a:lvl3pPr>
            <a:lvl4pPr marL="0" indent="0">
              <a:buNone/>
              <a:defRPr sz="1108">
                <a:solidFill>
                  <a:schemeClr val="bg1">
                    <a:lumMod val="65000"/>
                  </a:schemeClr>
                </a:solidFill>
              </a:defRPr>
            </a:lvl4pPr>
          </a:lstStyle>
          <a:p>
            <a:pPr lvl="0">
              <a:spcAft>
                <a:spcPts val="0"/>
              </a:spcAft>
            </a:pPr>
            <a:r>
              <a:rPr lang="en-US"/>
              <a:t>Super title here – ignore when not needed or add space</a:t>
            </a:r>
          </a:p>
        </p:txBody>
      </p:sp>
    </p:spTree>
    <p:extLst>
      <p:ext uri="{BB962C8B-B14F-4D97-AF65-F5344CB8AC3E}">
        <p14:creationId xmlns:p14="http://schemas.microsoft.com/office/powerpoint/2010/main" val="2442968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E3022F2F-B43A-41C4-BF6C-3739462B739A}"/>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8" name="Title 1">
            <a:extLst>
              <a:ext uri="{FF2B5EF4-FFF2-40B4-BE49-F238E27FC236}">
                <a16:creationId xmlns:a16="http://schemas.microsoft.com/office/drawing/2014/main" id="{7E69996B-9D51-47AF-8239-CB068E0662C9}"/>
              </a:ext>
            </a:extLst>
          </p:cNvPr>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9" name="Freeform 19">
            <a:extLst>
              <a:ext uri="{FF2B5EF4-FFF2-40B4-BE49-F238E27FC236}">
                <a16:creationId xmlns:a16="http://schemas.microsoft.com/office/drawing/2014/main" id="{AE26B475-B5C4-4347-8C21-09E3E42E7752}"/>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Text Placeholder 3">
            <a:extLst>
              <a:ext uri="{FF2B5EF4-FFF2-40B4-BE49-F238E27FC236}">
                <a16:creationId xmlns:a16="http://schemas.microsoft.com/office/drawing/2014/main" id="{40EC61BC-58E1-4775-ADB9-771F90B82F9B}"/>
              </a:ext>
            </a:extLst>
          </p:cNvPr>
          <p:cNvSpPr>
            <a:spLocks noGrp="1"/>
          </p:cNvSpPr>
          <p:nvPr>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27C17CDB-6172-4525-81E9-4F0C8DBBA4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Tree>
    <p:extLst>
      <p:ext uri="{BB962C8B-B14F-4D97-AF65-F5344CB8AC3E}">
        <p14:creationId xmlns:p14="http://schemas.microsoft.com/office/powerpoint/2010/main" val="24547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9" name="Freeform 19">
            <a:extLst>
              <a:ext uri="{FF2B5EF4-FFF2-40B4-BE49-F238E27FC236}">
                <a16:creationId xmlns:a16="http://schemas.microsoft.com/office/drawing/2014/main" id="{7C40611E-3A51-447C-B4D9-E63571518EA9}"/>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9">
            <a:extLst>
              <a:ext uri="{FF2B5EF4-FFF2-40B4-BE49-F238E27FC236}">
                <a16:creationId xmlns:a16="http://schemas.microsoft.com/office/drawing/2014/main" id="{477655F7-9771-42CD-A3FF-9B0E744CD30E}"/>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Picture Placeholder 3">
            <a:extLst>
              <a:ext uri="{FF2B5EF4-FFF2-40B4-BE49-F238E27FC236}">
                <a16:creationId xmlns:a16="http://schemas.microsoft.com/office/drawing/2014/main" id="{00708127-E14A-4909-821A-61F581AA1270}"/>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12" name="Title 1">
            <a:extLst>
              <a:ext uri="{FF2B5EF4-FFF2-40B4-BE49-F238E27FC236}">
                <a16:creationId xmlns:a16="http://schemas.microsoft.com/office/drawing/2014/main" id="{2356C80A-82E6-41A1-8315-DBCCD3E8637A}"/>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3" name="Text Placeholder 3">
            <a:extLst>
              <a:ext uri="{FF2B5EF4-FFF2-40B4-BE49-F238E27FC236}">
                <a16:creationId xmlns:a16="http://schemas.microsoft.com/office/drawing/2014/main" id="{FD661CB1-3F0A-461E-B7EF-0DD8759D0892}"/>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14" name="Graphic 13">
            <a:extLst>
              <a:ext uri="{FF2B5EF4-FFF2-40B4-BE49-F238E27FC236}">
                <a16:creationId xmlns:a16="http://schemas.microsoft.com/office/drawing/2014/main" id="{0A13EE70-222E-4A80-9783-F68F00B7D3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529CB1A-1B72-48E4-9F89-031545C1FDEC}"/>
              </a:ext>
            </a:extLst>
          </p:cNvPr>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 name="Freeform 19">
            <a:extLst>
              <a:ext uri="{FF2B5EF4-FFF2-40B4-BE49-F238E27FC236}">
                <a16:creationId xmlns:a16="http://schemas.microsoft.com/office/drawing/2014/main" id="{068A8D8B-EF5A-4905-83FB-5B545573C07F}"/>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19">
            <a:extLst>
              <a:ext uri="{FF2B5EF4-FFF2-40B4-BE49-F238E27FC236}">
                <a16:creationId xmlns:a16="http://schemas.microsoft.com/office/drawing/2014/main" id="{1A2E6BF4-8839-4971-8A92-E4187724BDD8}"/>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3">
            <a:extLst>
              <a:ext uri="{FF2B5EF4-FFF2-40B4-BE49-F238E27FC236}">
                <a16:creationId xmlns:a16="http://schemas.microsoft.com/office/drawing/2014/main" id="{48A49F3C-B81B-486A-8AC6-0C685BBE0216}"/>
              </a:ext>
            </a:extLst>
          </p:cNvPr>
          <p:cNvSpPr>
            <a:spLocks noGrp="1"/>
          </p:cNvSpPr>
          <p:nvPr>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3" name="Picture Placeholder 3">
            <a:extLst>
              <a:ext uri="{FF2B5EF4-FFF2-40B4-BE49-F238E27FC236}">
                <a16:creationId xmlns:a16="http://schemas.microsoft.com/office/drawing/2014/main" id="{E01A53E6-C071-4F04-8874-C1213CB3BE6E}"/>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14" name="Graphic 13">
            <a:extLst>
              <a:ext uri="{FF2B5EF4-FFF2-40B4-BE49-F238E27FC236}">
                <a16:creationId xmlns:a16="http://schemas.microsoft.com/office/drawing/2014/main" id="{2295ABE6-9B30-4315-B16F-C7442D3C71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15.xml"/><Relationship Id="rId2" Type="http://schemas.openxmlformats.org/officeDocument/2006/relationships/slideLayout" Target="../slideLayouts/slideLayout44.xml"/><Relationship Id="rId16" Type="http://schemas.openxmlformats.org/officeDocument/2006/relationships/tags" Target="../tags/tag1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2.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44"/>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IT Advisory: </a:t>
            </a:r>
            <a:r>
              <a:rPr lang="en-US" sz="600" b="0" kern="1200">
                <a:solidFill>
                  <a:schemeClr val="bg1">
                    <a:lumMod val="65000"/>
                  </a:schemeClr>
                </a:solidFill>
                <a:latin typeface="+mn-lt"/>
                <a:ea typeface="+mn-ea"/>
                <a:cs typeface="+mn-cs"/>
              </a:rPr>
              <a:t>New vision, new line of services</a:t>
            </a:r>
            <a:endParaRPr lang="en-GB" sz="600" b="0" kern="1200" noProof="0">
              <a:solidFill>
                <a:schemeClr val="bg1">
                  <a:lumMod val="65000"/>
                </a:schemeClr>
              </a:solidFill>
              <a:latin typeface="+mn-lt"/>
              <a:ea typeface="+mn-ea"/>
              <a:cs typeface="+mn-cs"/>
            </a:endParaRPr>
          </a:p>
        </p:txBody>
      </p:sp>
      <p:sp>
        <p:nvSpPr>
          <p:cNvPr id="8" name="TextBox 7">
            <a:extLst>
              <a:ext uri="{C183D7F6-B498-43B3-948B-1728B52AA6E4}">
                <adec:decorative xmlns:adec="http://schemas.microsoft.com/office/drawing/2017/decorative" val="1"/>
              </a:ext>
            </a:extLst>
          </p:cNvPr>
          <p:cNvSpPr txBox="1"/>
          <p:nvPr userDrawn="1"/>
        </p:nvSpPr>
        <p:spPr>
          <a:xfrm>
            <a:off x="1885685" y="6266997"/>
            <a:ext cx="515306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2024 KPMG </a:t>
            </a:r>
            <a:r>
              <a:rPr lang="en-US" sz="600" kern="1200" noProof="0" err="1">
                <a:solidFill>
                  <a:schemeClr val="bg1">
                    <a:lumMod val="65000"/>
                  </a:schemeClr>
                </a:solidFill>
                <a:latin typeface="+mn-lt"/>
                <a:ea typeface="+mn-ea"/>
                <a:cs typeface="+mn-cs"/>
              </a:rPr>
              <a:t>Entreprises</a:t>
            </a:r>
            <a:r>
              <a:rPr lang="en-US" sz="600" kern="1200" noProof="0">
                <a:solidFill>
                  <a:schemeClr val="bg1">
                    <a:lumMod val="65000"/>
                  </a:schemeClr>
                </a:solidFill>
                <a:latin typeface="+mn-lt"/>
                <a:ea typeface="+mn-ea"/>
                <a:cs typeface="+mn-cs"/>
              </a:rPr>
              <a:t>, a Tunisian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28" r:id="rId2"/>
    <p:sldLayoutId id="2147483749" r:id="rId3"/>
    <p:sldLayoutId id="2147483750" r:id="rId4"/>
    <p:sldLayoutId id="2147483767" r:id="rId5"/>
    <p:sldLayoutId id="2147483768" r:id="rId6"/>
    <p:sldLayoutId id="2147483765" r:id="rId7"/>
    <p:sldLayoutId id="2147483766" r:id="rId8"/>
    <p:sldLayoutId id="2147483666" r:id="rId9"/>
    <p:sldLayoutId id="2147483794" r:id="rId10"/>
    <p:sldLayoutId id="2147483712" r:id="rId11"/>
    <p:sldLayoutId id="2147483664" r:id="rId12"/>
    <p:sldLayoutId id="2147483769" r:id="rId13"/>
    <p:sldLayoutId id="2147483770" r:id="rId14"/>
    <p:sldLayoutId id="2147483714" r:id="rId15"/>
    <p:sldLayoutId id="2147483689" r:id="rId16"/>
    <p:sldLayoutId id="2147483716" r:id="rId17"/>
    <p:sldLayoutId id="2147483690" r:id="rId18"/>
    <p:sldLayoutId id="2147483692" r:id="rId19"/>
    <p:sldLayoutId id="2147483691" r:id="rId20"/>
    <p:sldLayoutId id="2147483693" r:id="rId21"/>
    <p:sldLayoutId id="2147483810" r:id="rId22"/>
    <p:sldLayoutId id="2147483701" r:id="rId23"/>
    <p:sldLayoutId id="2147483771" r:id="rId24"/>
    <p:sldLayoutId id="2147483752" r:id="rId25"/>
    <p:sldLayoutId id="2147483697" r:id="rId26"/>
    <p:sldLayoutId id="2147483772" r:id="rId27"/>
    <p:sldLayoutId id="2147483754" r:id="rId28"/>
    <p:sldLayoutId id="2147483699" r:id="rId29"/>
    <p:sldLayoutId id="2147483700" r:id="rId30"/>
    <p:sldLayoutId id="2147483722" r:id="rId31"/>
    <p:sldLayoutId id="2147483682" r:id="rId32"/>
    <p:sldLayoutId id="2147483745" r:id="rId33"/>
    <p:sldLayoutId id="2147483746" r:id="rId34"/>
    <p:sldLayoutId id="2147483667" r:id="rId35"/>
    <p:sldLayoutId id="2147483748" r:id="rId36"/>
    <p:sldLayoutId id="2147483773" r:id="rId37"/>
    <p:sldLayoutId id="2147483793" r:id="rId38"/>
    <p:sldLayoutId id="2147483791" r:id="rId39"/>
    <p:sldLayoutId id="2147483790" r:id="rId40"/>
    <p:sldLayoutId id="2147483796" r:id="rId41"/>
    <p:sldLayoutId id="2147483829" r:id="rId42"/>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guide id="7" orient="horz" pos="37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16"/>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 </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9CAB9EC7-F5E0-4684-A576-ECACF26F9022}"/>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1"/>
              </a:ext>
            </a:extLst>
          </p:cNvPr>
          <p:cNvSpPr txBox="1"/>
          <p:nvPr userDrawn="1">
            <p:custDataLst>
              <p:tags r:id="rId17"/>
            </p:custDataLst>
          </p:nvPr>
        </p:nvSpPr>
        <p:spPr>
          <a:xfrm>
            <a:off x="1885684" y="6266996"/>
            <a:ext cx="717880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600" kern="1200" noProof="0">
                <a:solidFill>
                  <a:schemeClr val="bg1">
                    <a:lumMod val="65000"/>
                  </a:schemeClr>
                </a:solidFill>
                <a:latin typeface="+mn-lt"/>
                <a:ea typeface="+mn-ea"/>
                <a:cs typeface="+mn-cs"/>
              </a:rPr>
              <a:t>© 2023 KPMG ENTREPRISES INTERNATIONAL, société à responsabilité limitée de droit tunisien, membre tunisien de l’organisation mondiale KPMG constituée de cabinets indépendants affiliés à KPMG International Limited, une société de droit anglais (« </a:t>
            </a:r>
            <a:r>
              <a:rPr lang="fr-FR" sz="600" kern="1200" noProof="0" err="1">
                <a:solidFill>
                  <a:schemeClr val="bg1">
                    <a:lumMod val="65000"/>
                  </a:schemeClr>
                </a:solidFill>
                <a:latin typeface="+mn-lt"/>
                <a:ea typeface="+mn-ea"/>
                <a:cs typeface="+mn-cs"/>
              </a:rPr>
              <a:t>private</a:t>
            </a:r>
            <a:r>
              <a:rPr lang="fr-FR" sz="600" kern="1200" noProof="0">
                <a:solidFill>
                  <a:schemeClr val="bg1">
                    <a:lumMod val="65000"/>
                  </a:schemeClr>
                </a:solidFill>
                <a:latin typeface="+mn-lt"/>
                <a:ea typeface="+mn-ea"/>
                <a:cs typeface="+mn-cs"/>
              </a:rPr>
              <a:t> </a:t>
            </a:r>
            <a:r>
              <a:rPr lang="fr-FR" sz="600" kern="1200" noProof="0" err="1">
                <a:solidFill>
                  <a:schemeClr val="bg1">
                    <a:lumMod val="65000"/>
                  </a:schemeClr>
                </a:solidFill>
                <a:latin typeface="+mn-lt"/>
                <a:ea typeface="+mn-ea"/>
                <a:cs typeface="+mn-cs"/>
              </a:rPr>
              <a:t>company</a:t>
            </a:r>
            <a:r>
              <a:rPr lang="fr-FR" sz="600" kern="1200" noProof="0">
                <a:solidFill>
                  <a:schemeClr val="bg1">
                    <a:lumMod val="65000"/>
                  </a:schemeClr>
                </a:solidFill>
                <a:latin typeface="+mn-lt"/>
                <a:ea typeface="+mn-ea"/>
                <a:cs typeface="+mn-cs"/>
              </a:rPr>
              <a:t> </a:t>
            </a:r>
            <a:r>
              <a:rPr lang="fr-FR" sz="600" kern="1200" noProof="0" err="1">
                <a:solidFill>
                  <a:schemeClr val="bg1">
                    <a:lumMod val="65000"/>
                  </a:schemeClr>
                </a:solidFill>
                <a:latin typeface="+mn-lt"/>
                <a:ea typeface="+mn-ea"/>
                <a:cs typeface="+mn-cs"/>
              </a:rPr>
              <a:t>limited</a:t>
            </a:r>
            <a:r>
              <a:rPr lang="fr-FR" sz="600" kern="1200" noProof="0">
                <a:solidFill>
                  <a:schemeClr val="bg1">
                    <a:lumMod val="65000"/>
                  </a:schemeClr>
                </a:solidFill>
                <a:latin typeface="+mn-lt"/>
                <a:ea typeface="+mn-ea"/>
                <a:cs typeface="+mn-cs"/>
              </a:rPr>
              <a:t> by </a:t>
            </a:r>
            <a:r>
              <a:rPr lang="fr-FR" sz="600" kern="1200" noProof="0" err="1">
                <a:solidFill>
                  <a:schemeClr val="bg1">
                    <a:lumMod val="65000"/>
                  </a:schemeClr>
                </a:solidFill>
                <a:latin typeface="+mn-lt"/>
                <a:ea typeface="+mn-ea"/>
                <a:cs typeface="+mn-cs"/>
              </a:rPr>
              <a:t>garantee</a:t>
            </a:r>
            <a:r>
              <a:rPr lang="fr-FR" sz="600" kern="1200" noProof="0">
                <a:solidFill>
                  <a:schemeClr val="bg1">
                    <a:lumMod val="65000"/>
                  </a:schemeClr>
                </a:solidFill>
                <a:latin typeface="+mn-lt"/>
                <a:ea typeface="+mn-ea"/>
                <a:cs typeface="+mn-cs"/>
              </a:rPr>
              <a:t> »). Tous droits réservés. Le nom et le logo KPMG sont des marques utilisées sous licence par les cabinets indépendants membres de l’organisation mondiale KPMG. [Imprimé en Tunisie] [A usage interne].</a:t>
            </a:r>
            <a:endParaRPr lang="en-US" sz="600" kern="1200" noProof="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725943965"/>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guide id="7" orient="horz" pos="370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9.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762ACB57-E13D-4602-A184-B3AD9E2A689A}"/>
              </a:ext>
            </a:extLst>
          </p:cNvPr>
          <p:cNvSpPr/>
          <p:nvPr/>
        </p:nvSpPr>
        <p:spPr>
          <a:xfrm>
            <a:off x="385260" y="267643"/>
            <a:ext cx="881565" cy="93579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5" name="Title 6">
            <a:extLst>
              <a:ext uri="{FF2B5EF4-FFF2-40B4-BE49-F238E27FC236}">
                <a16:creationId xmlns:a16="http://schemas.microsoft.com/office/drawing/2014/main" id="{4AB20040-3D7B-405F-A158-78C9F6F36405}"/>
              </a:ext>
            </a:extLst>
          </p:cNvPr>
          <p:cNvSpPr>
            <a:spLocks noGrp="1"/>
          </p:cNvSpPr>
          <p:nvPr>
            <p:ph type="title"/>
          </p:nvPr>
        </p:nvSpPr>
        <p:spPr>
          <a:xfrm>
            <a:off x="523572" y="431799"/>
            <a:ext cx="11606784" cy="1170497"/>
          </a:xfrm>
        </p:spPr>
        <p:txBody>
          <a:bodyPr/>
          <a:lstStyle/>
          <a:p>
            <a:r>
              <a:rPr lang="fr-FR" sz="6500" dirty="0">
                <a:solidFill>
                  <a:schemeClr val="bg1"/>
                </a:solidFill>
              </a:rPr>
              <a:t>O4. </a:t>
            </a:r>
            <a:r>
              <a:rPr lang="en-US" sz="6500" dirty="0">
                <a:solidFill>
                  <a:schemeClr val="tx2"/>
                </a:solidFill>
              </a:rPr>
              <a:t>Our Credentials </a:t>
            </a:r>
            <a:br>
              <a:rPr lang="en-US" sz="6500">
                <a:solidFill>
                  <a:schemeClr val="tx2"/>
                </a:solidFill>
              </a:rPr>
            </a:br>
            <a:br>
              <a:rPr lang="en-US" sz="1200">
                <a:solidFill>
                  <a:schemeClr val="bg1"/>
                </a:solidFill>
              </a:rPr>
            </a:br>
            <a:br>
              <a:rPr kumimoji="0" lang="en-GB" sz="6600" b="0" i="0" u="none" strike="noStrike" kern="1200" cap="none" spc="0" normalizeH="0" baseline="0" noProof="0">
                <a:ln>
                  <a:noFill/>
                </a:ln>
                <a:solidFill>
                  <a:srgbClr val="00338D"/>
                </a:solidFill>
                <a:effectLst/>
                <a:uLnTx/>
                <a:uFillTx/>
                <a:latin typeface="+mn-lt"/>
                <a:ea typeface="+mn-ea"/>
                <a:cs typeface="+mn-cs"/>
              </a:rPr>
            </a:br>
            <a:endParaRPr lang="en-US" sz="6500">
              <a:solidFill>
                <a:schemeClr val="bg1"/>
              </a:solidFill>
            </a:endParaRPr>
          </a:p>
        </p:txBody>
      </p:sp>
      <p:sp>
        <p:nvSpPr>
          <p:cNvPr id="2" name="object 3">
            <a:extLst>
              <a:ext uri="{FF2B5EF4-FFF2-40B4-BE49-F238E27FC236}">
                <a16:creationId xmlns:a16="http://schemas.microsoft.com/office/drawing/2014/main" id="{837C17BF-7343-9EFA-DF78-462979F94FF7}"/>
              </a:ext>
            </a:extLst>
          </p:cNvPr>
          <p:cNvSpPr/>
          <p:nvPr/>
        </p:nvSpPr>
        <p:spPr>
          <a:xfrm>
            <a:off x="826042" y="1663536"/>
            <a:ext cx="4128067" cy="4482226"/>
          </a:xfrm>
          <a:custGeom>
            <a:avLst/>
            <a:gdLst/>
            <a:ahLst/>
            <a:cxnLst/>
            <a:rect l="l" t="t" r="r" b="b"/>
            <a:pathLst>
              <a:path w="3968750" h="4312920">
                <a:moveTo>
                  <a:pt x="0" y="0"/>
                </a:moveTo>
                <a:lnTo>
                  <a:pt x="3968496" y="0"/>
                </a:lnTo>
                <a:lnTo>
                  <a:pt x="3968496" y="4312920"/>
                </a:lnTo>
                <a:lnTo>
                  <a:pt x="0" y="4312920"/>
                </a:lnTo>
                <a:lnTo>
                  <a:pt x="0" y="0"/>
                </a:lnTo>
                <a:close/>
              </a:path>
            </a:pathLst>
          </a:custGeom>
          <a:ln w="6350">
            <a:solidFill>
              <a:srgbClr val="0B223B"/>
            </a:solidFill>
          </a:ln>
        </p:spPr>
        <p:txBody>
          <a:bodyPr wrap="square" lIns="0" tIns="0" rIns="0" bIns="0" rtlCol="0"/>
          <a:lstStyle/>
          <a:p>
            <a:endParaRPr/>
          </a:p>
        </p:txBody>
      </p:sp>
      <p:sp>
        <p:nvSpPr>
          <p:cNvPr id="4" name="object 4">
            <a:extLst>
              <a:ext uri="{FF2B5EF4-FFF2-40B4-BE49-F238E27FC236}">
                <a16:creationId xmlns:a16="http://schemas.microsoft.com/office/drawing/2014/main" id="{C15A440F-866F-11D2-CEF2-4E260F806629}"/>
              </a:ext>
            </a:extLst>
          </p:cNvPr>
          <p:cNvSpPr txBox="1"/>
          <p:nvPr/>
        </p:nvSpPr>
        <p:spPr>
          <a:xfrm>
            <a:off x="880799" y="1748061"/>
            <a:ext cx="3846036" cy="1285431"/>
          </a:xfrm>
          <a:prstGeom prst="rect">
            <a:avLst/>
          </a:prstGeom>
        </p:spPr>
        <p:txBody>
          <a:bodyPr vert="horz" wrap="square" lIns="0" tIns="13335" rIns="0" bIns="0" rtlCol="0">
            <a:spAutoFit/>
          </a:bodyPr>
          <a:lstStyle/>
          <a:p>
            <a:pPr marL="12700" marR="5080">
              <a:lnSpc>
                <a:spcPct val="100000"/>
              </a:lnSpc>
              <a:spcBef>
                <a:spcPts val="105"/>
              </a:spcBef>
            </a:pPr>
            <a:r>
              <a:rPr lang="en-US" sz="1100" b="1" spc="-5" dirty="0">
                <a:latin typeface="Arial"/>
                <a:cs typeface="Arial"/>
              </a:rPr>
              <a:t>Clients: Ministry of Finance &amp; KFW </a:t>
            </a:r>
          </a:p>
          <a:p>
            <a:pPr marL="12700" marR="5080">
              <a:lnSpc>
                <a:spcPct val="100000"/>
              </a:lnSpc>
              <a:spcBef>
                <a:spcPts val="105"/>
              </a:spcBef>
            </a:pPr>
            <a:r>
              <a:rPr lang="en-US" sz="1100" b="1" spc="-5" dirty="0">
                <a:latin typeface="Arial"/>
                <a:cs typeface="Arial"/>
              </a:rPr>
              <a:t>Country: Tunisia – 2023</a:t>
            </a:r>
          </a:p>
          <a:p>
            <a:pPr marL="12700" marR="5080">
              <a:lnSpc>
                <a:spcPct val="100000"/>
              </a:lnSpc>
              <a:spcBef>
                <a:spcPts val="105"/>
              </a:spcBef>
            </a:pPr>
            <a:br>
              <a:rPr lang="en-US" sz="1100" b="1" spc="-5">
                <a:latin typeface="Arial"/>
                <a:cs typeface="Arial"/>
              </a:rPr>
            </a:br>
            <a:r>
              <a:rPr lang="en-US" sz="1100" b="1" spc="-5" dirty="0">
                <a:latin typeface="Arial"/>
                <a:cs typeface="Arial"/>
              </a:rPr>
              <a:t>Project title: </a:t>
            </a:r>
            <a:r>
              <a:rPr lang="en-US" sz="1100" b="1" spc="-5" dirty="0" err="1">
                <a:latin typeface="Arial"/>
                <a:cs typeface="Arial"/>
              </a:rPr>
              <a:t>MoSIE</a:t>
            </a:r>
            <a:r>
              <a:rPr lang="en-US" sz="1100" b="1" spc="-5" dirty="0">
                <a:latin typeface="Arial"/>
                <a:cs typeface="Arial"/>
              </a:rPr>
              <a:t> Project "Modernization of the State's Information System“</a:t>
            </a:r>
          </a:p>
          <a:p>
            <a:pPr marL="12700" marR="5080">
              <a:lnSpc>
                <a:spcPct val="100000"/>
              </a:lnSpc>
              <a:spcBef>
                <a:spcPts val="105"/>
              </a:spcBef>
            </a:pPr>
            <a:br>
              <a:rPr lang="en-US" sz="1100" b="1" spc="-5">
                <a:latin typeface="Arial"/>
                <a:cs typeface="Arial"/>
              </a:rPr>
            </a:br>
            <a:endParaRPr lang="en-US" sz="1100">
              <a:latin typeface="Arial"/>
              <a:cs typeface="Arial"/>
            </a:endParaRPr>
          </a:p>
        </p:txBody>
      </p:sp>
      <p:sp>
        <p:nvSpPr>
          <p:cNvPr id="5" name="object 5">
            <a:extLst>
              <a:ext uri="{FF2B5EF4-FFF2-40B4-BE49-F238E27FC236}">
                <a16:creationId xmlns:a16="http://schemas.microsoft.com/office/drawing/2014/main" id="{796435D4-FF16-660F-3243-426ABADF026B}"/>
              </a:ext>
            </a:extLst>
          </p:cNvPr>
          <p:cNvSpPr txBox="1"/>
          <p:nvPr/>
        </p:nvSpPr>
        <p:spPr>
          <a:xfrm>
            <a:off x="869201" y="2829636"/>
            <a:ext cx="3997949" cy="2616742"/>
          </a:xfrm>
          <a:prstGeom prst="rect">
            <a:avLst/>
          </a:prstGeom>
        </p:spPr>
        <p:txBody>
          <a:bodyPr vert="horz" wrap="square" lIns="0" tIns="13335" rIns="0" bIns="0" rtlCol="0">
            <a:spAutoFit/>
          </a:bodyPr>
          <a:lstStyle/>
          <a:p>
            <a:pPr marL="240665" marR="5080" indent="-228600" algn="just">
              <a:lnSpc>
                <a:spcPct val="100000"/>
              </a:lnSpc>
              <a:spcBef>
                <a:spcPts val="105"/>
              </a:spcBef>
              <a:buAutoNum type="arabicPeriod"/>
            </a:pPr>
            <a:r>
              <a:rPr lang="en-US" sz="1100" spc="-5" dirty="0">
                <a:latin typeface="Arial"/>
                <a:cs typeface="Arial"/>
              </a:rPr>
              <a:t>For the successful fulfillment of the missions assigned to the digital infrastructure company, a priority intervention area concerns infrastructure mapping. However, in Togo today, documentation is often incomplete, and it is not uncommon for the start of a construction project to result in the destruction of existing installations. </a:t>
            </a:r>
          </a:p>
          <a:p>
            <a:pPr marL="240665" marR="5080" indent="-228600" algn="just">
              <a:lnSpc>
                <a:spcPct val="100000"/>
              </a:lnSpc>
              <a:spcBef>
                <a:spcPts val="105"/>
              </a:spcBef>
              <a:buAutoNum type="arabicPeriod"/>
            </a:pPr>
            <a:endParaRPr lang="en-US" sz="1100" spc="-5">
              <a:latin typeface="Arial"/>
              <a:cs typeface="Arial"/>
            </a:endParaRPr>
          </a:p>
          <a:p>
            <a:pPr marL="240665" marR="5080" indent="-228600" algn="just">
              <a:lnSpc>
                <a:spcPct val="100000"/>
              </a:lnSpc>
              <a:spcBef>
                <a:spcPts val="105"/>
              </a:spcBef>
              <a:buAutoNum type="arabicPeriod"/>
            </a:pPr>
            <a:r>
              <a:rPr lang="en-US" sz="1100" spc="-5" dirty="0">
                <a:latin typeface="Arial"/>
                <a:cs typeface="Arial"/>
              </a:rPr>
              <a:t>Furthermore, there are inter-ministerial commissions held during the launch of civil engineering works (water, electricity, ICT, etc.) to ensure that the project does not overlap with existing infrastructure, but these commissions are not effective due to lack of viable data.</a:t>
            </a:r>
          </a:p>
          <a:p>
            <a:pPr marL="240665" marR="5080" indent="-228600" algn="just">
              <a:lnSpc>
                <a:spcPct val="100000"/>
              </a:lnSpc>
              <a:spcBef>
                <a:spcPts val="105"/>
              </a:spcBef>
              <a:buAutoNum type="arabicPeriod"/>
            </a:pPr>
            <a:endParaRPr lang="en-US" sz="1100" b="1" spc="-5">
              <a:latin typeface="Arial"/>
              <a:cs typeface="Arial"/>
            </a:endParaRPr>
          </a:p>
          <a:p>
            <a:pPr marL="240665" marR="5080" indent="-228600" algn="just">
              <a:lnSpc>
                <a:spcPct val="100000"/>
              </a:lnSpc>
              <a:spcBef>
                <a:spcPts val="105"/>
              </a:spcBef>
            </a:pPr>
            <a:endParaRPr lang="en-US" sz="1100" b="1" spc="-5">
              <a:latin typeface="Arial"/>
              <a:cs typeface="Arial"/>
            </a:endParaRPr>
          </a:p>
          <a:p>
            <a:pPr marL="240665" marR="5080" indent="-228600">
              <a:lnSpc>
                <a:spcPct val="100000"/>
              </a:lnSpc>
              <a:spcBef>
                <a:spcPts val="105"/>
              </a:spcBef>
            </a:pPr>
            <a:endParaRPr lang="en-US" sz="1100">
              <a:latin typeface="Arial MT"/>
              <a:cs typeface="Arial MT"/>
            </a:endParaRPr>
          </a:p>
        </p:txBody>
      </p:sp>
      <p:sp>
        <p:nvSpPr>
          <p:cNvPr id="11" name="object 8">
            <a:extLst>
              <a:ext uri="{FF2B5EF4-FFF2-40B4-BE49-F238E27FC236}">
                <a16:creationId xmlns:a16="http://schemas.microsoft.com/office/drawing/2014/main" id="{7B1BEC7C-FB52-69E8-DA32-135756D816B6}"/>
              </a:ext>
            </a:extLst>
          </p:cNvPr>
          <p:cNvSpPr/>
          <p:nvPr/>
        </p:nvSpPr>
        <p:spPr>
          <a:xfrm>
            <a:off x="826042" y="1384781"/>
            <a:ext cx="4128067" cy="275850"/>
          </a:xfrm>
          <a:custGeom>
            <a:avLst/>
            <a:gdLst/>
            <a:ahLst/>
            <a:cxnLst/>
            <a:rect l="l" t="t" r="r" b="b"/>
            <a:pathLst>
              <a:path w="3968750" h="265430">
                <a:moveTo>
                  <a:pt x="3968496" y="0"/>
                </a:moveTo>
                <a:lnTo>
                  <a:pt x="0" y="0"/>
                </a:lnTo>
                <a:lnTo>
                  <a:pt x="0" y="265175"/>
                </a:lnTo>
                <a:lnTo>
                  <a:pt x="3968496" y="265175"/>
                </a:lnTo>
                <a:lnTo>
                  <a:pt x="3968496" y="0"/>
                </a:lnTo>
                <a:close/>
              </a:path>
            </a:pathLst>
          </a:custGeom>
          <a:solidFill>
            <a:srgbClr val="0B223B"/>
          </a:solidFill>
        </p:spPr>
        <p:txBody>
          <a:bodyPr wrap="square" lIns="0" tIns="0" rIns="0" bIns="0" rtlCol="0"/>
          <a:lstStyle/>
          <a:p>
            <a:endParaRPr/>
          </a:p>
        </p:txBody>
      </p:sp>
      <p:sp>
        <p:nvSpPr>
          <p:cNvPr id="12" name="object 9">
            <a:extLst>
              <a:ext uri="{FF2B5EF4-FFF2-40B4-BE49-F238E27FC236}">
                <a16:creationId xmlns:a16="http://schemas.microsoft.com/office/drawing/2014/main" id="{3855330C-8266-11DE-7EEF-3E7497EB6B45}"/>
              </a:ext>
            </a:extLst>
          </p:cNvPr>
          <p:cNvSpPr txBox="1"/>
          <p:nvPr/>
        </p:nvSpPr>
        <p:spPr>
          <a:xfrm>
            <a:off x="906645" y="1417390"/>
            <a:ext cx="1601029" cy="189916"/>
          </a:xfrm>
          <a:prstGeom prst="rect">
            <a:avLst/>
          </a:prstGeom>
        </p:spPr>
        <p:txBody>
          <a:bodyPr vert="horz" wrap="square" lIns="0" tIns="13335" rIns="0" bIns="0" rtlCol="0">
            <a:spAutoFit/>
          </a:bodyPr>
          <a:lstStyle/>
          <a:p>
            <a:pPr marL="12700">
              <a:lnSpc>
                <a:spcPct val="100000"/>
              </a:lnSpc>
              <a:spcBef>
                <a:spcPts val="105"/>
              </a:spcBef>
            </a:pPr>
            <a:r>
              <a:rPr lang="fr-FR" sz="1100" b="1" dirty="0">
                <a:solidFill>
                  <a:srgbClr val="FFFFFF"/>
                </a:solidFill>
                <a:latin typeface="Arial"/>
                <a:cs typeface="Arial"/>
              </a:rPr>
              <a:t>Client &amp; </a:t>
            </a:r>
            <a:r>
              <a:rPr lang="fr-FR" sz="1100" b="1" dirty="0" err="1">
                <a:solidFill>
                  <a:srgbClr val="FFFFFF"/>
                </a:solidFill>
                <a:latin typeface="Arial"/>
                <a:cs typeface="Arial"/>
              </a:rPr>
              <a:t>Context</a:t>
            </a:r>
            <a:endParaRPr sz="1100" dirty="0">
              <a:latin typeface="Arial"/>
              <a:cs typeface="Arial"/>
            </a:endParaRPr>
          </a:p>
        </p:txBody>
      </p:sp>
      <p:grpSp>
        <p:nvGrpSpPr>
          <p:cNvPr id="14" name="object 10">
            <a:extLst>
              <a:ext uri="{FF2B5EF4-FFF2-40B4-BE49-F238E27FC236}">
                <a16:creationId xmlns:a16="http://schemas.microsoft.com/office/drawing/2014/main" id="{5288BFDA-7623-D063-A0BF-80A2554254D1}"/>
              </a:ext>
            </a:extLst>
          </p:cNvPr>
          <p:cNvGrpSpPr/>
          <p:nvPr/>
        </p:nvGrpSpPr>
        <p:grpSpPr>
          <a:xfrm>
            <a:off x="4559530" y="1288564"/>
            <a:ext cx="430640" cy="430273"/>
            <a:chOff x="4584572" y="986408"/>
            <a:chExt cx="414020" cy="414020"/>
          </a:xfrm>
        </p:grpSpPr>
        <p:sp>
          <p:nvSpPr>
            <p:cNvPr id="16" name="object 11">
              <a:extLst>
                <a:ext uri="{FF2B5EF4-FFF2-40B4-BE49-F238E27FC236}">
                  <a16:creationId xmlns:a16="http://schemas.microsoft.com/office/drawing/2014/main" id="{02A1003B-CDC5-10DB-9A3D-5FAC27EAC23D}"/>
                </a:ext>
              </a:extLst>
            </p:cNvPr>
            <p:cNvSpPr/>
            <p:nvPr/>
          </p:nvSpPr>
          <p:spPr>
            <a:xfrm>
              <a:off x="4594097" y="995933"/>
              <a:ext cx="394970" cy="394970"/>
            </a:xfrm>
            <a:custGeom>
              <a:avLst/>
              <a:gdLst/>
              <a:ahLst/>
              <a:cxnLst/>
              <a:rect l="l" t="t" r="r" b="b"/>
              <a:pathLst>
                <a:path w="394970" h="394969">
                  <a:moveTo>
                    <a:pt x="394715" y="0"/>
                  </a:moveTo>
                  <a:lnTo>
                    <a:pt x="0" y="0"/>
                  </a:lnTo>
                  <a:lnTo>
                    <a:pt x="0" y="394715"/>
                  </a:lnTo>
                  <a:lnTo>
                    <a:pt x="394715" y="394715"/>
                  </a:lnTo>
                  <a:lnTo>
                    <a:pt x="394715" y="0"/>
                  </a:lnTo>
                  <a:close/>
                </a:path>
              </a:pathLst>
            </a:custGeom>
            <a:solidFill>
              <a:srgbClr val="0B223B"/>
            </a:solidFill>
          </p:spPr>
          <p:txBody>
            <a:bodyPr wrap="square" lIns="0" tIns="0" rIns="0" bIns="0" rtlCol="0"/>
            <a:lstStyle/>
            <a:p>
              <a:endParaRPr/>
            </a:p>
          </p:txBody>
        </p:sp>
        <p:sp>
          <p:nvSpPr>
            <p:cNvPr id="17" name="object 12">
              <a:extLst>
                <a:ext uri="{FF2B5EF4-FFF2-40B4-BE49-F238E27FC236}">
                  <a16:creationId xmlns:a16="http://schemas.microsoft.com/office/drawing/2014/main" id="{BD51D573-727B-3A7B-E9FE-6D06D1F3A0FF}"/>
                </a:ext>
              </a:extLst>
            </p:cNvPr>
            <p:cNvSpPr/>
            <p:nvPr/>
          </p:nvSpPr>
          <p:spPr>
            <a:xfrm>
              <a:off x="4594097" y="995933"/>
              <a:ext cx="394970" cy="394970"/>
            </a:xfrm>
            <a:custGeom>
              <a:avLst/>
              <a:gdLst/>
              <a:ahLst/>
              <a:cxnLst/>
              <a:rect l="l" t="t" r="r" b="b"/>
              <a:pathLst>
                <a:path w="394970" h="394969">
                  <a:moveTo>
                    <a:pt x="0" y="0"/>
                  </a:moveTo>
                  <a:lnTo>
                    <a:pt x="394715" y="0"/>
                  </a:lnTo>
                  <a:lnTo>
                    <a:pt x="394715" y="394715"/>
                  </a:lnTo>
                  <a:lnTo>
                    <a:pt x="0" y="394715"/>
                  </a:lnTo>
                  <a:lnTo>
                    <a:pt x="0" y="0"/>
                  </a:lnTo>
                  <a:close/>
                </a:path>
              </a:pathLst>
            </a:custGeom>
            <a:ln w="19050">
              <a:solidFill>
                <a:srgbClr val="FFFFFF"/>
              </a:solidFill>
            </a:ln>
          </p:spPr>
          <p:txBody>
            <a:bodyPr wrap="square" lIns="0" tIns="0" rIns="0" bIns="0" rtlCol="0"/>
            <a:lstStyle/>
            <a:p>
              <a:endParaRPr/>
            </a:p>
          </p:txBody>
        </p:sp>
        <p:pic>
          <p:nvPicPr>
            <p:cNvPr id="18" name="object 13">
              <a:extLst>
                <a:ext uri="{FF2B5EF4-FFF2-40B4-BE49-F238E27FC236}">
                  <a16:creationId xmlns:a16="http://schemas.microsoft.com/office/drawing/2014/main" id="{C1136A3E-9F1D-DE13-E874-F94E47A0F968}"/>
                </a:ext>
              </a:extLst>
            </p:cNvPr>
            <p:cNvPicPr/>
            <p:nvPr/>
          </p:nvPicPr>
          <p:blipFill>
            <a:blip r:embed="rId2" cstate="print"/>
            <a:stretch>
              <a:fillRect/>
            </a:stretch>
          </p:blipFill>
          <p:spPr>
            <a:xfrm>
              <a:off x="4661915" y="1078991"/>
              <a:ext cx="208782" cy="205741"/>
            </a:xfrm>
            <a:prstGeom prst="rect">
              <a:avLst/>
            </a:prstGeom>
          </p:spPr>
        </p:pic>
      </p:grpSp>
      <p:sp>
        <p:nvSpPr>
          <p:cNvPr id="19" name="object 14">
            <a:extLst>
              <a:ext uri="{FF2B5EF4-FFF2-40B4-BE49-F238E27FC236}">
                <a16:creationId xmlns:a16="http://schemas.microsoft.com/office/drawing/2014/main" id="{2E69BDE0-DBB2-D3C9-D10A-D37152E2BB72}"/>
              </a:ext>
            </a:extLst>
          </p:cNvPr>
          <p:cNvSpPr txBox="1"/>
          <p:nvPr/>
        </p:nvSpPr>
        <p:spPr>
          <a:xfrm>
            <a:off x="5315265" y="1802911"/>
            <a:ext cx="6122088" cy="1342738"/>
          </a:xfrm>
          <a:prstGeom prst="rect">
            <a:avLst/>
          </a:prstGeom>
          <a:ln w="6350">
            <a:solidFill>
              <a:srgbClr val="7113EA"/>
            </a:solidFill>
          </a:ln>
        </p:spPr>
        <p:txBody>
          <a:bodyPr vert="horz" wrap="square" lIns="0" tIns="55244" rIns="0" bIns="0" rtlCol="0">
            <a:spAutoFit/>
          </a:bodyPr>
          <a:lstStyle/>
          <a:p>
            <a:pPr marL="166688" indent="-114300" algn="just">
              <a:lnSpc>
                <a:spcPct val="100000"/>
              </a:lnSpc>
              <a:spcBef>
                <a:spcPts val="434"/>
              </a:spcBef>
            </a:pPr>
            <a:r>
              <a:rPr lang="en-US" sz="1100" b="1" dirty="0">
                <a:latin typeface="Arial"/>
                <a:cs typeface="Arial"/>
              </a:rPr>
              <a:t>Objectives</a:t>
            </a:r>
            <a:r>
              <a:rPr lang="en-US" sz="1100" b="1" spc="-35" dirty="0">
                <a:latin typeface="Arial"/>
                <a:cs typeface="Arial"/>
              </a:rPr>
              <a:t> </a:t>
            </a:r>
            <a:r>
              <a:rPr lang="en-US" sz="1100" b="1" dirty="0">
                <a:latin typeface="Arial"/>
                <a:cs typeface="Arial"/>
              </a:rPr>
              <a:t>–</a:t>
            </a:r>
            <a:r>
              <a:rPr lang="en-US" sz="1100" b="1" spc="-15" dirty="0">
                <a:latin typeface="Arial"/>
                <a:cs typeface="Arial"/>
              </a:rPr>
              <a:t> </a:t>
            </a:r>
            <a:r>
              <a:rPr lang="en-US" sz="1100" dirty="0">
                <a:latin typeface="Arial MT"/>
                <a:cs typeface="Arial MT"/>
              </a:rPr>
              <a:t>The project, titled "Modernization of the State's Information System" or </a:t>
            </a:r>
            <a:r>
              <a:rPr lang="en-US" sz="1100" dirty="0" err="1">
                <a:latin typeface="Arial MT"/>
                <a:cs typeface="Arial MT"/>
              </a:rPr>
              <a:t>MoSIE</a:t>
            </a:r>
            <a:r>
              <a:rPr lang="en-US" sz="1100" dirty="0">
                <a:latin typeface="Arial MT"/>
                <a:cs typeface="Arial MT"/>
              </a:rPr>
              <a:t> project, aims to support the Ministry of Finance in creating the necessary conditions for the successful modernization of its information system, with a particular focus on digitizing the following three key areas: Accounting (budgetary, general, and analytical); Treasury Management; and Budgetary/Accounting Information Analysis and Decision Support Report Preparation.</a:t>
            </a:r>
          </a:p>
          <a:p>
            <a:pPr marL="52705">
              <a:lnSpc>
                <a:spcPct val="100000"/>
              </a:lnSpc>
              <a:spcBef>
                <a:spcPts val="434"/>
              </a:spcBef>
            </a:pPr>
            <a:endParaRPr lang="en-US" sz="1100">
              <a:latin typeface="Arial MT"/>
              <a:cs typeface="Arial MT"/>
            </a:endParaRPr>
          </a:p>
        </p:txBody>
      </p:sp>
      <p:sp>
        <p:nvSpPr>
          <p:cNvPr id="20" name="object 15">
            <a:extLst>
              <a:ext uri="{FF2B5EF4-FFF2-40B4-BE49-F238E27FC236}">
                <a16:creationId xmlns:a16="http://schemas.microsoft.com/office/drawing/2014/main" id="{2E713B6A-14DF-2A66-47F5-DE5A92D726B7}"/>
              </a:ext>
            </a:extLst>
          </p:cNvPr>
          <p:cNvSpPr txBox="1"/>
          <p:nvPr/>
        </p:nvSpPr>
        <p:spPr>
          <a:xfrm>
            <a:off x="5333853" y="3698297"/>
            <a:ext cx="6122088" cy="2447465"/>
          </a:xfrm>
          <a:prstGeom prst="rect">
            <a:avLst/>
          </a:prstGeom>
          <a:ln w="6350">
            <a:solidFill>
              <a:schemeClr val="accent1"/>
            </a:solidFill>
          </a:ln>
        </p:spPr>
        <p:txBody>
          <a:bodyPr vert="horz" wrap="square" lIns="0" tIns="56515" rIns="0" bIns="0" rtlCol="0">
            <a:spAutoFit/>
          </a:bodyPr>
          <a:lstStyle/>
          <a:p>
            <a:pPr marL="52705">
              <a:lnSpc>
                <a:spcPct val="100000"/>
              </a:lnSpc>
              <a:spcBef>
                <a:spcPts val="445"/>
              </a:spcBef>
            </a:pPr>
            <a:r>
              <a:rPr lang="en-US" sz="1100" b="1" dirty="0">
                <a:latin typeface="Arial"/>
                <a:cs typeface="Arial"/>
              </a:rPr>
              <a:t>Workstreams –</a:t>
            </a:r>
            <a:r>
              <a:rPr lang="en-US" sz="1100" b="1" spc="-25" dirty="0">
                <a:latin typeface="Arial"/>
                <a:cs typeface="Arial"/>
              </a:rPr>
              <a:t> </a:t>
            </a:r>
          </a:p>
          <a:p>
            <a:pPr marL="224155" indent="-171450">
              <a:lnSpc>
                <a:spcPct val="100000"/>
              </a:lnSpc>
              <a:spcBef>
                <a:spcPts val="445"/>
              </a:spcBef>
              <a:buFont typeface="Arial" panose="020B0604020202020204" pitchFamily="34" charset="0"/>
              <a:buChar char="•"/>
            </a:pPr>
            <a:r>
              <a:rPr lang="en-US" sz="1100" spc="-5" dirty="0">
                <a:latin typeface="Arial MT"/>
                <a:cs typeface="Arial MT"/>
              </a:rPr>
              <a:t>Business Stream: Focuses on institutional preparation, restructuring business processes, and designing IT procurement strategies.</a:t>
            </a:r>
          </a:p>
          <a:p>
            <a:pPr marL="224155" indent="-171450">
              <a:lnSpc>
                <a:spcPct val="100000"/>
              </a:lnSpc>
              <a:spcBef>
                <a:spcPts val="445"/>
              </a:spcBef>
              <a:buFont typeface="Arial" panose="020B0604020202020204" pitchFamily="34" charset="0"/>
              <a:buChar char="•"/>
            </a:pPr>
            <a:r>
              <a:rPr lang="en-US" sz="1100" spc="-5" dirty="0">
                <a:latin typeface="Arial MT"/>
                <a:cs typeface="Arial MT"/>
              </a:rPr>
              <a:t>Technical Stream: Involves planning data migration, designing deployment environments, and updating hardware/software inventories.</a:t>
            </a:r>
          </a:p>
          <a:p>
            <a:pPr marL="224155" indent="-171450">
              <a:lnSpc>
                <a:spcPct val="100000"/>
              </a:lnSpc>
              <a:spcBef>
                <a:spcPts val="445"/>
              </a:spcBef>
              <a:buFont typeface="Arial" panose="020B0604020202020204" pitchFamily="34" charset="0"/>
              <a:buChar char="•"/>
            </a:pPr>
            <a:r>
              <a:rPr lang="en-US" sz="1100" spc="-5" dirty="0">
                <a:latin typeface="Arial MT"/>
                <a:cs typeface="Arial MT"/>
              </a:rPr>
              <a:t>Governance Stream: Establishes governance at the Ministry of Finance, supports project portfolio management, and sets up a Project Management Office (PMO).</a:t>
            </a:r>
          </a:p>
          <a:p>
            <a:pPr marL="224155" indent="-171450">
              <a:lnSpc>
                <a:spcPct val="100000"/>
              </a:lnSpc>
              <a:spcBef>
                <a:spcPts val="445"/>
              </a:spcBef>
              <a:buFont typeface="Arial" panose="020B0604020202020204" pitchFamily="34" charset="0"/>
              <a:buChar char="•"/>
            </a:pPr>
            <a:r>
              <a:rPr lang="en-US" sz="1100" spc="-5" dirty="0">
                <a:latin typeface="Arial MT"/>
                <a:cs typeface="Arial MT"/>
              </a:rPr>
              <a:t>Change Management and Capacity Building Stream: Aims to establish and implement change management strategies and build the capacity of relevant stakeholders.</a:t>
            </a:r>
          </a:p>
          <a:p>
            <a:pPr marL="224155" indent="-171450">
              <a:lnSpc>
                <a:spcPct val="100000"/>
              </a:lnSpc>
              <a:spcBef>
                <a:spcPts val="445"/>
              </a:spcBef>
              <a:buFont typeface="Arial" panose="020B0604020202020204" pitchFamily="34" charset="0"/>
              <a:buChar char="•"/>
            </a:pPr>
            <a:endParaRPr lang="en-US" sz="1100" spc="-5">
              <a:latin typeface="Arial MT"/>
              <a:cs typeface="Arial MT"/>
            </a:endParaRPr>
          </a:p>
          <a:p>
            <a:pPr marL="224155" indent="-171450">
              <a:lnSpc>
                <a:spcPct val="100000"/>
              </a:lnSpc>
              <a:spcBef>
                <a:spcPts val="445"/>
              </a:spcBef>
              <a:buFont typeface="Arial" panose="020B0604020202020204" pitchFamily="34" charset="0"/>
              <a:buChar char="•"/>
            </a:pPr>
            <a:endParaRPr lang="en-US" sz="1100" spc="-5">
              <a:latin typeface="Arial MT"/>
              <a:cs typeface="Arial MT"/>
            </a:endParaRPr>
          </a:p>
          <a:p>
            <a:pPr marL="52705">
              <a:lnSpc>
                <a:spcPct val="100000"/>
              </a:lnSpc>
              <a:spcBef>
                <a:spcPts val="445"/>
              </a:spcBef>
            </a:pPr>
            <a:endParaRPr lang="en-US" sz="1100" spc="-5">
              <a:latin typeface="Arial MT"/>
              <a:cs typeface="Arial MT"/>
            </a:endParaRPr>
          </a:p>
        </p:txBody>
      </p:sp>
      <p:sp>
        <p:nvSpPr>
          <p:cNvPr id="21" name="object 16">
            <a:extLst>
              <a:ext uri="{FF2B5EF4-FFF2-40B4-BE49-F238E27FC236}">
                <a16:creationId xmlns:a16="http://schemas.microsoft.com/office/drawing/2014/main" id="{CFF964E4-8501-6A29-60E6-74842FAFB4FB}"/>
              </a:ext>
            </a:extLst>
          </p:cNvPr>
          <p:cNvSpPr/>
          <p:nvPr/>
        </p:nvSpPr>
        <p:spPr>
          <a:xfrm>
            <a:off x="5315265" y="1381615"/>
            <a:ext cx="6122088" cy="275850"/>
          </a:xfrm>
          <a:custGeom>
            <a:avLst/>
            <a:gdLst/>
            <a:ahLst/>
            <a:cxnLst/>
            <a:rect l="l" t="t" r="r" b="b"/>
            <a:pathLst>
              <a:path w="5885815" h="265430">
                <a:moveTo>
                  <a:pt x="5885688" y="0"/>
                </a:moveTo>
                <a:lnTo>
                  <a:pt x="0" y="0"/>
                </a:lnTo>
                <a:lnTo>
                  <a:pt x="0" y="265175"/>
                </a:lnTo>
                <a:lnTo>
                  <a:pt x="5885688" y="265175"/>
                </a:lnTo>
                <a:lnTo>
                  <a:pt x="5885688" y="0"/>
                </a:lnTo>
                <a:close/>
              </a:path>
            </a:pathLst>
          </a:custGeom>
          <a:solidFill>
            <a:srgbClr val="7113EA"/>
          </a:solidFill>
        </p:spPr>
        <p:txBody>
          <a:bodyPr wrap="square" lIns="0" tIns="0" rIns="0" bIns="0" rtlCol="0"/>
          <a:lstStyle/>
          <a:p>
            <a:endParaRPr/>
          </a:p>
        </p:txBody>
      </p:sp>
      <p:sp>
        <p:nvSpPr>
          <p:cNvPr id="22" name="object 17">
            <a:extLst>
              <a:ext uri="{FF2B5EF4-FFF2-40B4-BE49-F238E27FC236}">
                <a16:creationId xmlns:a16="http://schemas.microsoft.com/office/drawing/2014/main" id="{4F4D17D8-F829-1F3C-0299-416EA7F0501E}"/>
              </a:ext>
            </a:extLst>
          </p:cNvPr>
          <p:cNvSpPr txBox="1"/>
          <p:nvPr/>
        </p:nvSpPr>
        <p:spPr>
          <a:xfrm>
            <a:off x="5394962" y="1414484"/>
            <a:ext cx="1992040" cy="182742"/>
          </a:xfrm>
          <a:prstGeom prst="rect">
            <a:avLst/>
          </a:prstGeom>
        </p:spPr>
        <p:txBody>
          <a:bodyPr vert="horz" wrap="square" lIns="0" tIns="13335" rIns="0" bIns="0" rtlCol="0">
            <a:spAutoFit/>
          </a:bodyPr>
          <a:lstStyle/>
          <a:p>
            <a:pPr marL="12700">
              <a:lnSpc>
                <a:spcPct val="100000"/>
              </a:lnSpc>
              <a:spcBef>
                <a:spcPts val="105"/>
              </a:spcBef>
            </a:pPr>
            <a:r>
              <a:rPr lang="fr-FR" sz="1100" b="1" dirty="0">
                <a:solidFill>
                  <a:srgbClr val="FFFFFF"/>
                </a:solidFill>
                <a:latin typeface="Arial"/>
                <a:cs typeface="Arial"/>
              </a:rPr>
              <a:t>Objectives</a:t>
            </a:r>
            <a:endParaRPr sz="1100" dirty="0">
              <a:latin typeface="Arial"/>
              <a:cs typeface="Arial"/>
            </a:endParaRPr>
          </a:p>
        </p:txBody>
      </p:sp>
      <p:grpSp>
        <p:nvGrpSpPr>
          <p:cNvPr id="23" name="object 18">
            <a:extLst>
              <a:ext uri="{FF2B5EF4-FFF2-40B4-BE49-F238E27FC236}">
                <a16:creationId xmlns:a16="http://schemas.microsoft.com/office/drawing/2014/main" id="{2D8D91FB-99B6-6AC7-5842-3BFC11C4D4F8}"/>
              </a:ext>
            </a:extLst>
          </p:cNvPr>
          <p:cNvGrpSpPr/>
          <p:nvPr/>
        </p:nvGrpSpPr>
        <p:grpSpPr>
          <a:xfrm>
            <a:off x="11036955" y="1298462"/>
            <a:ext cx="401578" cy="401236"/>
            <a:chOff x="10812018" y="995933"/>
            <a:chExt cx="386080" cy="386080"/>
          </a:xfrm>
        </p:grpSpPr>
        <p:sp>
          <p:nvSpPr>
            <p:cNvPr id="24" name="object 19">
              <a:extLst>
                <a:ext uri="{FF2B5EF4-FFF2-40B4-BE49-F238E27FC236}">
                  <a16:creationId xmlns:a16="http://schemas.microsoft.com/office/drawing/2014/main" id="{F63A2586-A0BD-8A40-5422-AEBC9D323251}"/>
                </a:ext>
              </a:extLst>
            </p:cNvPr>
            <p:cNvSpPr/>
            <p:nvPr/>
          </p:nvSpPr>
          <p:spPr>
            <a:xfrm>
              <a:off x="10812018" y="995933"/>
              <a:ext cx="386080" cy="386080"/>
            </a:xfrm>
            <a:custGeom>
              <a:avLst/>
              <a:gdLst/>
              <a:ahLst/>
              <a:cxnLst/>
              <a:rect l="l" t="t" r="r" b="b"/>
              <a:pathLst>
                <a:path w="386079" h="386080">
                  <a:moveTo>
                    <a:pt x="385572" y="0"/>
                  </a:moveTo>
                  <a:lnTo>
                    <a:pt x="0" y="0"/>
                  </a:lnTo>
                  <a:lnTo>
                    <a:pt x="0" y="385572"/>
                  </a:lnTo>
                  <a:lnTo>
                    <a:pt x="385572" y="385572"/>
                  </a:lnTo>
                  <a:lnTo>
                    <a:pt x="385572" y="0"/>
                  </a:lnTo>
                  <a:close/>
                </a:path>
              </a:pathLst>
            </a:custGeom>
            <a:solidFill>
              <a:srgbClr val="7113EA"/>
            </a:solidFill>
          </p:spPr>
          <p:txBody>
            <a:bodyPr wrap="square" lIns="0" tIns="0" rIns="0" bIns="0" rtlCol="0"/>
            <a:lstStyle/>
            <a:p>
              <a:endParaRPr/>
            </a:p>
          </p:txBody>
        </p:sp>
        <p:sp>
          <p:nvSpPr>
            <p:cNvPr id="25" name="object 20">
              <a:extLst>
                <a:ext uri="{FF2B5EF4-FFF2-40B4-BE49-F238E27FC236}">
                  <a16:creationId xmlns:a16="http://schemas.microsoft.com/office/drawing/2014/main" id="{CDF8D62D-B589-E478-E63E-425428994E9E}"/>
                </a:ext>
              </a:extLst>
            </p:cNvPr>
            <p:cNvSpPr/>
            <p:nvPr/>
          </p:nvSpPr>
          <p:spPr>
            <a:xfrm>
              <a:off x="10812018" y="995933"/>
              <a:ext cx="386080" cy="386080"/>
            </a:xfrm>
            <a:custGeom>
              <a:avLst/>
              <a:gdLst/>
              <a:ahLst/>
              <a:cxnLst/>
              <a:rect l="l" t="t" r="r" b="b"/>
              <a:pathLst>
                <a:path w="386079" h="386080">
                  <a:moveTo>
                    <a:pt x="0" y="0"/>
                  </a:moveTo>
                  <a:lnTo>
                    <a:pt x="385572" y="0"/>
                  </a:lnTo>
                  <a:lnTo>
                    <a:pt x="385572" y="385572"/>
                  </a:lnTo>
                  <a:lnTo>
                    <a:pt x="0" y="385572"/>
                  </a:lnTo>
                  <a:lnTo>
                    <a:pt x="0" y="0"/>
                  </a:lnTo>
                  <a:close/>
                </a:path>
              </a:pathLst>
            </a:custGeom>
            <a:ln w="19050">
              <a:solidFill>
                <a:srgbClr val="FFFFFF"/>
              </a:solidFill>
            </a:ln>
          </p:spPr>
          <p:txBody>
            <a:bodyPr wrap="square" lIns="0" tIns="0" rIns="0" bIns="0" rtlCol="0"/>
            <a:lstStyle/>
            <a:p>
              <a:endParaRPr/>
            </a:p>
          </p:txBody>
        </p:sp>
      </p:grpSp>
      <p:sp>
        <p:nvSpPr>
          <p:cNvPr id="34" name="object 16">
            <a:extLst>
              <a:ext uri="{FF2B5EF4-FFF2-40B4-BE49-F238E27FC236}">
                <a16:creationId xmlns:a16="http://schemas.microsoft.com/office/drawing/2014/main" id="{34D2B5BD-F2D4-6F2A-EBF0-A6BA38DFB5E1}"/>
              </a:ext>
            </a:extLst>
          </p:cNvPr>
          <p:cNvSpPr/>
          <p:nvPr/>
        </p:nvSpPr>
        <p:spPr>
          <a:xfrm>
            <a:off x="5333853" y="3295905"/>
            <a:ext cx="6122088" cy="275850"/>
          </a:xfrm>
          <a:custGeom>
            <a:avLst/>
            <a:gdLst/>
            <a:ahLst/>
            <a:cxnLst/>
            <a:rect l="l" t="t" r="r" b="b"/>
            <a:pathLst>
              <a:path w="5885815" h="265430">
                <a:moveTo>
                  <a:pt x="5885688" y="0"/>
                </a:moveTo>
                <a:lnTo>
                  <a:pt x="0" y="0"/>
                </a:lnTo>
                <a:lnTo>
                  <a:pt x="0" y="265175"/>
                </a:lnTo>
                <a:lnTo>
                  <a:pt x="5885688" y="265175"/>
                </a:lnTo>
                <a:lnTo>
                  <a:pt x="5885688" y="0"/>
                </a:lnTo>
                <a:close/>
              </a:path>
            </a:pathLst>
          </a:custGeom>
          <a:solidFill>
            <a:schemeClr val="accent1"/>
          </a:solidFill>
        </p:spPr>
        <p:txBody>
          <a:bodyPr wrap="square" lIns="0" tIns="0" rIns="0" bIns="0" rtlCol="0"/>
          <a:lstStyle/>
          <a:p>
            <a:endParaRPr/>
          </a:p>
        </p:txBody>
      </p:sp>
      <p:sp>
        <p:nvSpPr>
          <p:cNvPr id="36" name="object 17">
            <a:extLst>
              <a:ext uri="{FF2B5EF4-FFF2-40B4-BE49-F238E27FC236}">
                <a16:creationId xmlns:a16="http://schemas.microsoft.com/office/drawing/2014/main" id="{F2E07164-84A9-77F1-BCD3-77D704E46C35}"/>
              </a:ext>
            </a:extLst>
          </p:cNvPr>
          <p:cNvSpPr txBox="1"/>
          <p:nvPr/>
        </p:nvSpPr>
        <p:spPr>
          <a:xfrm>
            <a:off x="5413550" y="3328774"/>
            <a:ext cx="1992040" cy="201278"/>
          </a:xfrm>
          <a:prstGeom prst="rect">
            <a:avLst/>
          </a:prstGeom>
        </p:spPr>
        <p:txBody>
          <a:bodyPr vert="horz" wrap="square" lIns="0" tIns="13335" rIns="0" bIns="0" rtlCol="0">
            <a:spAutoFit/>
          </a:bodyPr>
          <a:lstStyle/>
          <a:p>
            <a:pPr marL="12700">
              <a:lnSpc>
                <a:spcPct val="100000"/>
              </a:lnSpc>
              <a:spcBef>
                <a:spcPts val="105"/>
              </a:spcBef>
            </a:pPr>
            <a:r>
              <a:rPr sz="1100" b="1" dirty="0">
                <a:solidFill>
                  <a:srgbClr val="FFFFFF"/>
                </a:solidFill>
                <a:latin typeface="Arial"/>
                <a:cs typeface="Arial"/>
              </a:rPr>
              <a:t>Where</a:t>
            </a:r>
            <a:r>
              <a:rPr sz="1100" b="1" spc="-35" dirty="0">
                <a:solidFill>
                  <a:srgbClr val="FFFFFF"/>
                </a:solidFill>
                <a:latin typeface="Arial"/>
                <a:cs typeface="Arial"/>
              </a:rPr>
              <a:t> </a:t>
            </a:r>
            <a:r>
              <a:rPr sz="1100" b="1" dirty="0">
                <a:solidFill>
                  <a:srgbClr val="FFFFFF"/>
                </a:solidFill>
                <a:latin typeface="Arial"/>
                <a:cs typeface="Arial"/>
              </a:rPr>
              <a:t>we’ve</a:t>
            </a:r>
            <a:r>
              <a:rPr sz="1100" b="1" spc="-50" dirty="0">
                <a:solidFill>
                  <a:srgbClr val="FFFFFF"/>
                </a:solidFill>
                <a:latin typeface="Arial"/>
                <a:cs typeface="Arial"/>
              </a:rPr>
              <a:t> </a:t>
            </a:r>
            <a:r>
              <a:rPr sz="1100" b="1" spc="-5" dirty="0">
                <a:solidFill>
                  <a:srgbClr val="FFFFFF"/>
                </a:solidFill>
                <a:latin typeface="Arial"/>
                <a:cs typeface="Arial"/>
              </a:rPr>
              <a:t>delivered</a:t>
            </a:r>
            <a:r>
              <a:rPr sz="1100" b="1" spc="-35" dirty="0">
                <a:solidFill>
                  <a:srgbClr val="FFFFFF"/>
                </a:solidFill>
                <a:latin typeface="Arial"/>
                <a:cs typeface="Arial"/>
              </a:rPr>
              <a:t> </a:t>
            </a:r>
            <a:r>
              <a:rPr sz="1100" b="1" spc="-5" dirty="0">
                <a:solidFill>
                  <a:srgbClr val="FFFFFF"/>
                </a:solidFill>
                <a:latin typeface="Arial"/>
                <a:cs typeface="Arial"/>
              </a:rPr>
              <a:t>value</a:t>
            </a:r>
            <a:endParaRPr sz="1100" dirty="0">
              <a:latin typeface="Arial"/>
              <a:cs typeface="Arial"/>
            </a:endParaRPr>
          </a:p>
        </p:txBody>
      </p:sp>
      <p:grpSp>
        <p:nvGrpSpPr>
          <p:cNvPr id="37" name="object 18">
            <a:extLst>
              <a:ext uri="{FF2B5EF4-FFF2-40B4-BE49-F238E27FC236}">
                <a16:creationId xmlns:a16="http://schemas.microsoft.com/office/drawing/2014/main" id="{C560E284-5B63-BE16-8DA2-5E18B60D2271}"/>
              </a:ext>
            </a:extLst>
          </p:cNvPr>
          <p:cNvGrpSpPr/>
          <p:nvPr/>
        </p:nvGrpSpPr>
        <p:grpSpPr>
          <a:xfrm>
            <a:off x="11045644" y="3202854"/>
            <a:ext cx="421393" cy="421034"/>
            <a:chOff x="10802493" y="986408"/>
            <a:chExt cx="405130" cy="405130"/>
          </a:xfrm>
        </p:grpSpPr>
        <p:sp>
          <p:nvSpPr>
            <p:cNvPr id="38" name="object 19">
              <a:extLst>
                <a:ext uri="{FF2B5EF4-FFF2-40B4-BE49-F238E27FC236}">
                  <a16:creationId xmlns:a16="http://schemas.microsoft.com/office/drawing/2014/main" id="{8F315864-71BA-0193-6CAB-08F3F90AF80E}"/>
                </a:ext>
              </a:extLst>
            </p:cNvPr>
            <p:cNvSpPr/>
            <p:nvPr/>
          </p:nvSpPr>
          <p:spPr>
            <a:xfrm>
              <a:off x="10812018" y="995933"/>
              <a:ext cx="386080" cy="386080"/>
            </a:xfrm>
            <a:custGeom>
              <a:avLst/>
              <a:gdLst/>
              <a:ahLst/>
              <a:cxnLst/>
              <a:rect l="l" t="t" r="r" b="b"/>
              <a:pathLst>
                <a:path w="386079" h="386080">
                  <a:moveTo>
                    <a:pt x="385572" y="0"/>
                  </a:moveTo>
                  <a:lnTo>
                    <a:pt x="0" y="0"/>
                  </a:lnTo>
                  <a:lnTo>
                    <a:pt x="0" y="385572"/>
                  </a:lnTo>
                  <a:lnTo>
                    <a:pt x="385572" y="385572"/>
                  </a:lnTo>
                  <a:lnTo>
                    <a:pt x="385572" y="0"/>
                  </a:lnTo>
                  <a:close/>
                </a:path>
              </a:pathLst>
            </a:custGeom>
            <a:solidFill>
              <a:schemeClr val="accent1"/>
            </a:solidFill>
          </p:spPr>
          <p:txBody>
            <a:bodyPr wrap="square" lIns="0" tIns="0" rIns="0" bIns="0" rtlCol="0"/>
            <a:lstStyle/>
            <a:p>
              <a:endParaRPr/>
            </a:p>
          </p:txBody>
        </p:sp>
        <p:sp>
          <p:nvSpPr>
            <p:cNvPr id="39" name="object 20">
              <a:extLst>
                <a:ext uri="{FF2B5EF4-FFF2-40B4-BE49-F238E27FC236}">
                  <a16:creationId xmlns:a16="http://schemas.microsoft.com/office/drawing/2014/main" id="{F798C188-0407-9618-A6F8-FD8436B4EFA2}"/>
                </a:ext>
              </a:extLst>
            </p:cNvPr>
            <p:cNvSpPr/>
            <p:nvPr/>
          </p:nvSpPr>
          <p:spPr>
            <a:xfrm>
              <a:off x="10812018" y="995933"/>
              <a:ext cx="386080" cy="386080"/>
            </a:xfrm>
            <a:custGeom>
              <a:avLst/>
              <a:gdLst/>
              <a:ahLst/>
              <a:cxnLst/>
              <a:rect l="l" t="t" r="r" b="b"/>
              <a:pathLst>
                <a:path w="386079" h="386080">
                  <a:moveTo>
                    <a:pt x="0" y="0"/>
                  </a:moveTo>
                  <a:lnTo>
                    <a:pt x="385572" y="0"/>
                  </a:lnTo>
                  <a:lnTo>
                    <a:pt x="385572" y="385572"/>
                  </a:lnTo>
                  <a:lnTo>
                    <a:pt x="0" y="385572"/>
                  </a:lnTo>
                  <a:lnTo>
                    <a:pt x="0" y="0"/>
                  </a:lnTo>
                  <a:close/>
                </a:path>
              </a:pathLst>
            </a:custGeom>
            <a:ln w="19050">
              <a:solidFill>
                <a:srgbClr val="FFFFFF"/>
              </a:solidFill>
            </a:ln>
          </p:spPr>
          <p:txBody>
            <a:bodyPr wrap="square" lIns="0" tIns="0" rIns="0" bIns="0" rtlCol="0"/>
            <a:lstStyle/>
            <a:p>
              <a:endParaRPr/>
            </a:p>
          </p:txBody>
        </p:sp>
        <p:sp>
          <p:nvSpPr>
            <p:cNvPr id="40" name="object 21">
              <a:extLst>
                <a:ext uri="{FF2B5EF4-FFF2-40B4-BE49-F238E27FC236}">
                  <a16:creationId xmlns:a16="http://schemas.microsoft.com/office/drawing/2014/main" id="{F0DD4CE8-0048-0CA6-BA20-2BACCFA93E66}"/>
                </a:ext>
              </a:extLst>
            </p:cNvPr>
            <p:cNvSpPr/>
            <p:nvPr/>
          </p:nvSpPr>
          <p:spPr>
            <a:xfrm>
              <a:off x="11007090" y="1056893"/>
              <a:ext cx="0" cy="35560"/>
            </a:xfrm>
            <a:custGeom>
              <a:avLst/>
              <a:gdLst/>
              <a:ahLst/>
              <a:cxnLst/>
              <a:rect l="l" t="t" r="r" b="b"/>
              <a:pathLst>
                <a:path h="35559">
                  <a:moveTo>
                    <a:pt x="0" y="0"/>
                  </a:moveTo>
                  <a:lnTo>
                    <a:pt x="0" y="35052"/>
                  </a:lnTo>
                </a:path>
              </a:pathLst>
            </a:custGeom>
            <a:ln w="14224">
              <a:solidFill>
                <a:srgbClr val="FFFFFF"/>
              </a:solidFill>
            </a:ln>
          </p:spPr>
          <p:txBody>
            <a:bodyPr wrap="square" lIns="0" tIns="0" rIns="0" bIns="0" rtlCol="0"/>
            <a:lstStyle/>
            <a:p>
              <a:endParaRPr/>
            </a:p>
          </p:txBody>
        </p:sp>
        <p:sp>
          <p:nvSpPr>
            <p:cNvPr id="41" name="object 22">
              <a:extLst>
                <a:ext uri="{FF2B5EF4-FFF2-40B4-BE49-F238E27FC236}">
                  <a16:creationId xmlns:a16="http://schemas.microsoft.com/office/drawing/2014/main" id="{0B0930B4-2524-3FEB-BC3B-D5EDAA70A93A}"/>
                </a:ext>
              </a:extLst>
            </p:cNvPr>
            <p:cNvSpPr/>
            <p:nvPr/>
          </p:nvSpPr>
          <p:spPr>
            <a:xfrm>
              <a:off x="11007090" y="1288541"/>
              <a:ext cx="0" cy="33655"/>
            </a:xfrm>
            <a:custGeom>
              <a:avLst/>
              <a:gdLst/>
              <a:ahLst/>
              <a:cxnLst/>
              <a:rect l="l" t="t" r="r" b="b"/>
              <a:pathLst>
                <a:path h="33655">
                  <a:moveTo>
                    <a:pt x="0" y="0"/>
                  </a:moveTo>
                  <a:lnTo>
                    <a:pt x="0" y="33528"/>
                  </a:lnTo>
                </a:path>
              </a:pathLst>
            </a:custGeom>
            <a:ln w="14224">
              <a:solidFill>
                <a:srgbClr val="FFFFFF"/>
              </a:solidFill>
            </a:ln>
          </p:spPr>
          <p:txBody>
            <a:bodyPr wrap="square" lIns="0" tIns="0" rIns="0" bIns="0" rtlCol="0"/>
            <a:lstStyle/>
            <a:p>
              <a:endParaRPr/>
            </a:p>
          </p:txBody>
        </p:sp>
        <p:sp>
          <p:nvSpPr>
            <p:cNvPr id="42" name="object 23">
              <a:extLst>
                <a:ext uri="{FF2B5EF4-FFF2-40B4-BE49-F238E27FC236}">
                  <a16:creationId xmlns:a16="http://schemas.microsoft.com/office/drawing/2014/main" id="{F008BA08-2629-BC69-E414-8B2978D90DD1}"/>
                </a:ext>
              </a:extLst>
            </p:cNvPr>
            <p:cNvSpPr/>
            <p:nvPr/>
          </p:nvSpPr>
          <p:spPr>
            <a:xfrm>
              <a:off x="10854690" y="1189481"/>
              <a:ext cx="40005" cy="0"/>
            </a:xfrm>
            <a:custGeom>
              <a:avLst/>
              <a:gdLst/>
              <a:ahLst/>
              <a:cxnLst/>
              <a:rect l="l" t="t" r="r" b="b"/>
              <a:pathLst>
                <a:path w="40004">
                  <a:moveTo>
                    <a:pt x="0" y="0"/>
                  </a:moveTo>
                  <a:lnTo>
                    <a:pt x="39624" y="0"/>
                  </a:lnTo>
                </a:path>
              </a:pathLst>
            </a:custGeom>
            <a:ln w="14224">
              <a:solidFill>
                <a:srgbClr val="FFFFFF"/>
              </a:solidFill>
            </a:ln>
          </p:spPr>
          <p:txBody>
            <a:bodyPr wrap="square" lIns="0" tIns="0" rIns="0" bIns="0" rtlCol="0"/>
            <a:lstStyle/>
            <a:p>
              <a:endParaRPr/>
            </a:p>
          </p:txBody>
        </p:sp>
        <p:sp>
          <p:nvSpPr>
            <p:cNvPr id="43" name="object 24">
              <a:extLst>
                <a:ext uri="{FF2B5EF4-FFF2-40B4-BE49-F238E27FC236}">
                  <a16:creationId xmlns:a16="http://schemas.microsoft.com/office/drawing/2014/main" id="{C7E8BD73-8371-1299-AAB8-C651FF7183F6}"/>
                </a:ext>
              </a:extLst>
            </p:cNvPr>
            <p:cNvSpPr/>
            <p:nvPr/>
          </p:nvSpPr>
          <p:spPr>
            <a:xfrm>
              <a:off x="11119866" y="1189481"/>
              <a:ext cx="40005" cy="0"/>
            </a:xfrm>
            <a:custGeom>
              <a:avLst/>
              <a:gdLst/>
              <a:ahLst/>
              <a:cxnLst/>
              <a:rect l="l" t="t" r="r" b="b"/>
              <a:pathLst>
                <a:path w="40004">
                  <a:moveTo>
                    <a:pt x="0" y="0"/>
                  </a:moveTo>
                  <a:lnTo>
                    <a:pt x="39624" y="0"/>
                  </a:lnTo>
                </a:path>
              </a:pathLst>
            </a:custGeom>
            <a:ln w="14224">
              <a:solidFill>
                <a:srgbClr val="FFFFFF"/>
              </a:solidFill>
            </a:ln>
          </p:spPr>
          <p:txBody>
            <a:bodyPr wrap="square" lIns="0" tIns="0" rIns="0" bIns="0" rtlCol="0"/>
            <a:lstStyle/>
            <a:p>
              <a:endParaRPr/>
            </a:p>
          </p:txBody>
        </p:sp>
        <p:sp>
          <p:nvSpPr>
            <p:cNvPr id="44" name="object 25">
              <a:extLst>
                <a:ext uri="{FF2B5EF4-FFF2-40B4-BE49-F238E27FC236}">
                  <a16:creationId xmlns:a16="http://schemas.microsoft.com/office/drawing/2014/main" id="{C6E540D2-4DDE-B5E2-E6B1-3234CE1D039C}"/>
                </a:ext>
              </a:extLst>
            </p:cNvPr>
            <p:cNvSpPr/>
            <p:nvPr/>
          </p:nvSpPr>
          <p:spPr>
            <a:xfrm>
              <a:off x="10874502" y="1075181"/>
              <a:ext cx="265430" cy="230504"/>
            </a:xfrm>
            <a:custGeom>
              <a:avLst/>
              <a:gdLst/>
              <a:ahLst/>
              <a:cxnLst/>
              <a:rect l="l" t="t" r="r" b="b"/>
              <a:pathLst>
                <a:path w="265429" h="230505">
                  <a:moveTo>
                    <a:pt x="265175" y="115062"/>
                  </a:moveTo>
                  <a:lnTo>
                    <a:pt x="254756" y="159850"/>
                  </a:lnTo>
                  <a:lnTo>
                    <a:pt x="226342" y="196424"/>
                  </a:lnTo>
                  <a:lnTo>
                    <a:pt x="184198" y="221082"/>
                  </a:lnTo>
                  <a:lnTo>
                    <a:pt x="132587" y="230124"/>
                  </a:lnTo>
                  <a:lnTo>
                    <a:pt x="80977" y="221082"/>
                  </a:lnTo>
                  <a:lnTo>
                    <a:pt x="38833" y="196424"/>
                  </a:lnTo>
                  <a:lnTo>
                    <a:pt x="10419" y="159850"/>
                  </a:lnTo>
                  <a:lnTo>
                    <a:pt x="0" y="115062"/>
                  </a:lnTo>
                  <a:lnTo>
                    <a:pt x="10419" y="70273"/>
                  </a:lnTo>
                  <a:lnTo>
                    <a:pt x="38833" y="33699"/>
                  </a:lnTo>
                  <a:lnTo>
                    <a:pt x="80977" y="9041"/>
                  </a:lnTo>
                  <a:lnTo>
                    <a:pt x="132587" y="0"/>
                  </a:lnTo>
                  <a:lnTo>
                    <a:pt x="184198" y="9041"/>
                  </a:lnTo>
                  <a:lnTo>
                    <a:pt x="226342" y="33699"/>
                  </a:lnTo>
                  <a:lnTo>
                    <a:pt x="254756" y="70273"/>
                  </a:lnTo>
                  <a:lnTo>
                    <a:pt x="265175" y="115062"/>
                  </a:lnTo>
                  <a:close/>
                </a:path>
              </a:pathLst>
            </a:custGeom>
            <a:ln w="14224">
              <a:solidFill>
                <a:srgbClr val="FFFFFF"/>
              </a:solidFill>
            </a:ln>
          </p:spPr>
          <p:txBody>
            <a:bodyPr wrap="square" lIns="0" tIns="0" rIns="0" bIns="0" rtlCol="0"/>
            <a:lstStyle/>
            <a:p>
              <a:endParaRPr/>
            </a:p>
          </p:txBody>
        </p:sp>
        <p:pic>
          <p:nvPicPr>
            <p:cNvPr id="45" name="object 26">
              <a:extLst>
                <a:ext uri="{FF2B5EF4-FFF2-40B4-BE49-F238E27FC236}">
                  <a16:creationId xmlns:a16="http://schemas.microsoft.com/office/drawing/2014/main" id="{E4A0077F-EA0E-1395-2746-E2D3CA077767}"/>
                </a:ext>
              </a:extLst>
            </p:cNvPr>
            <p:cNvPicPr/>
            <p:nvPr/>
          </p:nvPicPr>
          <p:blipFill>
            <a:blip r:embed="rId3" cstate="print"/>
            <a:stretch>
              <a:fillRect/>
            </a:stretch>
          </p:blipFill>
          <p:spPr>
            <a:xfrm>
              <a:off x="10915650" y="1111757"/>
              <a:ext cx="181355" cy="153924"/>
            </a:xfrm>
            <a:prstGeom prst="rect">
              <a:avLst/>
            </a:prstGeom>
          </p:spPr>
        </p:pic>
      </p:grpSp>
      <p:pic>
        <p:nvPicPr>
          <p:cNvPr id="47" name="Graphic 46" descr="Target with solid fill">
            <a:extLst>
              <a:ext uri="{FF2B5EF4-FFF2-40B4-BE49-F238E27FC236}">
                <a16:creationId xmlns:a16="http://schemas.microsoft.com/office/drawing/2014/main" id="{72A7D80C-D797-50A5-D615-0979900D48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81847" y="1330055"/>
            <a:ext cx="314973" cy="314973"/>
          </a:xfrm>
          <a:prstGeom prst="rect">
            <a:avLst/>
          </a:prstGeom>
        </p:spPr>
      </p:pic>
      <p:grpSp>
        <p:nvGrpSpPr>
          <p:cNvPr id="48" name="Group 47">
            <a:extLst>
              <a:ext uri="{FF2B5EF4-FFF2-40B4-BE49-F238E27FC236}">
                <a16:creationId xmlns:a16="http://schemas.microsoft.com/office/drawing/2014/main" id="{1E79FBDC-0F3F-74E3-A4A4-239665919DAC}"/>
              </a:ext>
            </a:extLst>
          </p:cNvPr>
          <p:cNvGrpSpPr/>
          <p:nvPr/>
        </p:nvGrpSpPr>
        <p:grpSpPr>
          <a:xfrm>
            <a:off x="2200672" y="4727165"/>
            <a:ext cx="2761742" cy="1413864"/>
            <a:chOff x="2375330" y="4727165"/>
            <a:chExt cx="2761742" cy="1413864"/>
          </a:xfrm>
        </p:grpSpPr>
        <p:pic>
          <p:nvPicPr>
            <p:cNvPr id="49" name="object 12">
              <a:extLst>
                <a:ext uri="{FF2B5EF4-FFF2-40B4-BE49-F238E27FC236}">
                  <a16:creationId xmlns:a16="http://schemas.microsoft.com/office/drawing/2014/main" id="{226F05BB-6904-4A0F-3349-0C8C85D27FE8}"/>
                </a:ext>
              </a:extLst>
            </p:cNvPr>
            <p:cNvPicPr/>
            <p:nvPr/>
          </p:nvPicPr>
          <p:blipFill>
            <a:blip r:embed="rId6" cstate="print"/>
            <a:stretch>
              <a:fillRect/>
            </a:stretch>
          </p:blipFill>
          <p:spPr>
            <a:xfrm>
              <a:off x="2732666" y="4727165"/>
              <a:ext cx="1837637" cy="1404467"/>
            </a:xfrm>
            <a:prstGeom prst="rect">
              <a:avLst/>
            </a:prstGeom>
          </p:spPr>
        </p:pic>
        <p:sp>
          <p:nvSpPr>
            <p:cNvPr id="50" name="object 13">
              <a:extLst>
                <a:ext uri="{FF2B5EF4-FFF2-40B4-BE49-F238E27FC236}">
                  <a16:creationId xmlns:a16="http://schemas.microsoft.com/office/drawing/2014/main" id="{63F9364A-1507-4179-FAE4-03291ED439CB}"/>
                </a:ext>
              </a:extLst>
            </p:cNvPr>
            <p:cNvSpPr/>
            <p:nvPr/>
          </p:nvSpPr>
          <p:spPr>
            <a:xfrm>
              <a:off x="2593262" y="6073719"/>
              <a:ext cx="2543810" cy="67310"/>
            </a:xfrm>
            <a:custGeom>
              <a:avLst/>
              <a:gdLst/>
              <a:ahLst/>
              <a:cxnLst/>
              <a:rect l="l" t="t" r="r" b="b"/>
              <a:pathLst>
                <a:path w="2543809" h="67310">
                  <a:moveTo>
                    <a:pt x="2543555" y="0"/>
                  </a:moveTo>
                  <a:lnTo>
                    <a:pt x="0" y="0"/>
                  </a:lnTo>
                  <a:lnTo>
                    <a:pt x="0" y="67055"/>
                  </a:lnTo>
                  <a:lnTo>
                    <a:pt x="2543555" y="67055"/>
                  </a:lnTo>
                  <a:lnTo>
                    <a:pt x="2543555" y="0"/>
                  </a:lnTo>
                  <a:close/>
                </a:path>
              </a:pathLst>
            </a:custGeom>
            <a:solidFill>
              <a:srgbClr val="7D3D10"/>
            </a:solidFill>
          </p:spPr>
          <p:txBody>
            <a:bodyPr wrap="square" lIns="0" tIns="0" rIns="0" bIns="0" rtlCol="0"/>
            <a:lstStyle/>
            <a:p>
              <a:endParaRPr/>
            </a:p>
          </p:txBody>
        </p:sp>
        <p:sp>
          <p:nvSpPr>
            <p:cNvPr id="51" name="object 14">
              <a:extLst>
                <a:ext uri="{FF2B5EF4-FFF2-40B4-BE49-F238E27FC236}">
                  <a16:creationId xmlns:a16="http://schemas.microsoft.com/office/drawing/2014/main" id="{81E80677-E656-062A-6DF9-A464859CFA26}"/>
                </a:ext>
              </a:extLst>
            </p:cNvPr>
            <p:cNvSpPr/>
            <p:nvPr/>
          </p:nvSpPr>
          <p:spPr>
            <a:xfrm>
              <a:off x="2375330" y="5414361"/>
              <a:ext cx="475615" cy="726440"/>
            </a:xfrm>
            <a:custGeom>
              <a:avLst/>
              <a:gdLst/>
              <a:ahLst/>
              <a:cxnLst/>
              <a:rect l="l" t="t" r="r" b="b"/>
              <a:pathLst>
                <a:path w="475615" h="726439">
                  <a:moveTo>
                    <a:pt x="320685" y="0"/>
                  </a:moveTo>
                  <a:lnTo>
                    <a:pt x="269249" y="29124"/>
                  </a:lnTo>
                  <a:lnTo>
                    <a:pt x="222521" y="69687"/>
                  </a:lnTo>
                  <a:lnTo>
                    <a:pt x="135115" y="146497"/>
                  </a:lnTo>
                  <a:lnTo>
                    <a:pt x="103936" y="339804"/>
                  </a:lnTo>
                  <a:lnTo>
                    <a:pt x="104545" y="368195"/>
                  </a:lnTo>
                  <a:lnTo>
                    <a:pt x="104909" y="432311"/>
                  </a:lnTo>
                  <a:lnTo>
                    <a:pt x="102838" y="500571"/>
                  </a:lnTo>
                  <a:lnTo>
                    <a:pt x="96138" y="541391"/>
                  </a:lnTo>
                  <a:lnTo>
                    <a:pt x="72102" y="604213"/>
                  </a:lnTo>
                  <a:lnTo>
                    <a:pt x="44170" y="662892"/>
                  </a:lnTo>
                  <a:lnTo>
                    <a:pt x="29596" y="680587"/>
                  </a:lnTo>
                  <a:lnTo>
                    <a:pt x="15265" y="698798"/>
                  </a:lnTo>
                  <a:lnTo>
                    <a:pt x="4344" y="714938"/>
                  </a:lnTo>
                  <a:lnTo>
                    <a:pt x="0" y="726417"/>
                  </a:lnTo>
                  <a:lnTo>
                    <a:pt x="293611" y="726417"/>
                  </a:lnTo>
                  <a:lnTo>
                    <a:pt x="310175" y="679124"/>
                  </a:lnTo>
                  <a:lnTo>
                    <a:pt x="323207" y="639037"/>
                  </a:lnTo>
                  <a:lnTo>
                    <a:pt x="336725" y="589630"/>
                  </a:lnTo>
                  <a:lnTo>
                    <a:pt x="344276" y="573838"/>
                  </a:lnTo>
                  <a:lnTo>
                    <a:pt x="353777" y="559082"/>
                  </a:lnTo>
                  <a:lnTo>
                    <a:pt x="363766" y="546916"/>
                  </a:lnTo>
                  <a:lnTo>
                    <a:pt x="369566" y="538072"/>
                  </a:lnTo>
                  <a:lnTo>
                    <a:pt x="375126" y="532074"/>
                  </a:lnTo>
                  <a:lnTo>
                    <a:pt x="380200" y="528665"/>
                  </a:lnTo>
                  <a:lnTo>
                    <a:pt x="384543" y="527586"/>
                  </a:lnTo>
                  <a:lnTo>
                    <a:pt x="415196" y="463336"/>
                  </a:lnTo>
                  <a:lnTo>
                    <a:pt x="434887" y="427823"/>
                  </a:lnTo>
                  <a:lnTo>
                    <a:pt x="452142" y="408362"/>
                  </a:lnTo>
                  <a:lnTo>
                    <a:pt x="475488" y="392268"/>
                  </a:lnTo>
                  <a:lnTo>
                    <a:pt x="467040" y="314599"/>
                  </a:lnTo>
                  <a:lnTo>
                    <a:pt x="460137" y="255960"/>
                  </a:lnTo>
                  <a:lnTo>
                    <a:pt x="449057" y="191625"/>
                  </a:lnTo>
                  <a:lnTo>
                    <a:pt x="432941" y="156157"/>
                  </a:lnTo>
                  <a:lnTo>
                    <a:pt x="413412" y="122759"/>
                  </a:lnTo>
                  <a:lnTo>
                    <a:pt x="397535" y="102301"/>
                  </a:lnTo>
                  <a:lnTo>
                    <a:pt x="389377" y="70287"/>
                  </a:lnTo>
                  <a:lnTo>
                    <a:pt x="373057" y="23865"/>
                  </a:lnTo>
                  <a:lnTo>
                    <a:pt x="340050" y="4618"/>
                  </a:lnTo>
                  <a:lnTo>
                    <a:pt x="320685" y="0"/>
                  </a:lnTo>
                  <a:close/>
                </a:path>
              </a:pathLst>
            </a:custGeom>
            <a:solidFill>
              <a:srgbClr val="4B2C83"/>
            </a:solidFill>
          </p:spPr>
          <p:txBody>
            <a:bodyPr wrap="square" lIns="0" tIns="0" rIns="0" bIns="0" rtlCol="0"/>
            <a:lstStyle/>
            <a:p>
              <a:endParaRPr/>
            </a:p>
          </p:txBody>
        </p:sp>
        <p:sp>
          <p:nvSpPr>
            <p:cNvPr id="52" name="object 15">
              <a:extLst>
                <a:ext uri="{FF2B5EF4-FFF2-40B4-BE49-F238E27FC236}">
                  <a16:creationId xmlns:a16="http://schemas.microsoft.com/office/drawing/2014/main" id="{FEEE1C38-768A-1169-4A17-ECF4959FBD22}"/>
                </a:ext>
              </a:extLst>
            </p:cNvPr>
            <p:cNvSpPr/>
            <p:nvPr/>
          </p:nvSpPr>
          <p:spPr>
            <a:xfrm>
              <a:off x="2677086" y="5569275"/>
              <a:ext cx="100965" cy="266700"/>
            </a:xfrm>
            <a:custGeom>
              <a:avLst/>
              <a:gdLst/>
              <a:ahLst/>
              <a:cxnLst/>
              <a:rect l="l" t="t" r="r" b="b"/>
              <a:pathLst>
                <a:path w="100965" h="266700">
                  <a:moveTo>
                    <a:pt x="74790" y="0"/>
                  </a:moveTo>
                  <a:lnTo>
                    <a:pt x="64477" y="0"/>
                  </a:lnTo>
                  <a:lnTo>
                    <a:pt x="59308" y="2743"/>
                  </a:lnTo>
                  <a:lnTo>
                    <a:pt x="48231" y="5839"/>
                  </a:lnTo>
                  <a:lnTo>
                    <a:pt x="38360" y="10995"/>
                  </a:lnTo>
                  <a:lnTo>
                    <a:pt x="29937" y="18212"/>
                  </a:lnTo>
                  <a:lnTo>
                    <a:pt x="23202" y="27495"/>
                  </a:lnTo>
                  <a:lnTo>
                    <a:pt x="16395" y="36646"/>
                  </a:lnTo>
                  <a:lnTo>
                    <a:pt x="11279" y="47085"/>
                  </a:lnTo>
                  <a:lnTo>
                    <a:pt x="7613" y="58038"/>
                  </a:lnTo>
                  <a:lnTo>
                    <a:pt x="5156" y="68732"/>
                  </a:lnTo>
                  <a:lnTo>
                    <a:pt x="2578" y="76987"/>
                  </a:lnTo>
                  <a:lnTo>
                    <a:pt x="2578" y="82486"/>
                  </a:lnTo>
                  <a:lnTo>
                    <a:pt x="0" y="90728"/>
                  </a:lnTo>
                  <a:lnTo>
                    <a:pt x="0" y="115481"/>
                  </a:lnTo>
                  <a:lnTo>
                    <a:pt x="23202" y="266700"/>
                  </a:lnTo>
                  <a:lnTo>
                    <a:pt x="25780" y="266700"/>
                  </a:lnTo>
                  <a:lnTo>
                    <a:pt x="46418" y="261200"/>
                  </a:lnTo>
                  <a:lnTo>
                    <a:pt x="12890" y="112725"/>
                  </a:lnTo>
                  <a:lnTo>
                    <a:pt x="12890" y="71488"/>
                  </a:lnTo>
                  <a:lnTo>
                    <a:pt x="16395" y="60787"/>
                  </a:lnTo>
                  <a:lnTo>
                    <a:pt x="19659" y="49830"/>
                  </a:lnTo>
                  <a:lnTo>
                    <a:pt x="23409" y="39389"/>
                  </a:lnTo>
                  <a:lnTo>
                    <a:pt x="50124" y="10137"/>
                  </a:lnTo>
                  <a:lnTo>
                    <a:pt x="59308" y="5499"/>
                  </a:lnTo>
                  <a:lnTo>
                    <a:pt x="74790" y="0"/>
                  </a:lnTo>
                  <a:close/>
                </a:path>
                <a:path w="100965" h="266700">
                  <a:moveTo>
                    <a:pt x="92849" y="0"/>
                  </a:moveTo>
                  <a:lnTo>
                    <a:pt x="90258" y="0"/>
                  </a:lnTo>
                  <a:lnTo>
                    <a:pt x="95427" y="2743"/>
                  </a:lnTo>
                  <a:lnTo>
                    <a:pt x="100583" y="2743"/>
                  </a:lnTo>
                  <a:lnTo>
                    <a:pt x="92849" y="0"/>
                  </a:lnTo>
                  <a:close/>
                </a:path>
              </a:pathLst>
            </a:custGeom>
            <a:solidFill>
              <a:srgbClr val="3E206E"/>
            </a:solidFill>
          </p:spPr>
          <p:txBody>
            <a:bodyPr wrap="square" lIns="0" tIns="0" rIns="0" bIns="0" rtlCol="0"/>
            <a:lstStyle/>
            <a:p>
              <a:endParaRPr/>
            </a:p>
          </p:txBody>
        </p:sp>
        <p:pic>
          <p:nvPicPr>
            <p:cNvPr id="53" name="object 16">
              <a:extLst>
                <a:ext uri="{FF2B5EF4-FFF2-40B4-BE49-F238E27FC236}">
                  <a16:creationId xmlns:a16="http://schemas.microsoft.com/office/drawing/2014/main" id="{ADED6325-272A-A0BC-E514-EDAE608D3BB1}"/>
                </a:ext>
              </a:extLst>
            </p:cNvPr>
            <p:cNvPicPr/>
            <p:nvPr/>
          </p:nvPicPr>
          <p:blipFill>
            <a:blip r:embed="rId7" cstate="print"/>
            <a:stretch>
              <a:fillRect/>
            </a:stretch>
          </p:blipFill>
          <p:spPr>
            <a:xfrm>
              <a:off x="2844091" y="5763936"/>
              <a:ext cx="221088" cy="179849"/>
            </a:xfrm>
            <a:prstGeom prst="rect">
              <a:avLst/>
            </a:prstGeom>
          </p:spPr>
        </p:pic>
        <p:sp>
          <p:nvSpPr>
            <p:cNvPr id="54" name="object 17">
              <a:extLst>
                <a:ext uri="{FF2B5EF4-FFF2-40B4-BE49-F238E27FC236}">
                  <a16:creationId xmlns:a16="http://schemas.microsoft.com/office/drawing/2014/main" id="{074AFC99-C32C-06DB-7EE8-F7C2D07C63EC}"/>
                </a:ext>
              </a:extLst>
            </p:cNvPr>
            <p:cNvSpPr/>
            <p:nvPr/>
          </p:nvSpPr>
          <p:spPr>
            <a:xfrm>
              <a:off x="2406378" y="5070980"/>
              <a:ext cx="508634" cy="734695"/>
            </a:xfrm>
            <a:custGeom>
              <a:avLst/>
              <a:gdLst/>
              <a:ahLst/>
              <a:cxnLst/>
              <a:rect l="l" t="t" r="r" b="b"/>
              <a:pathLst>
                <a:path w="508634" h="734695">
                  <a:moveTo>
                    <a:pt x="405296" y="0"/>
                  </a:moveTo>
                  <a:lnTo>
                    <a:pt x="397928" y="6119"/>
                  </a:lnTo>
                  <a:lnTo>
                    <a:pt x="392982" y="14439"/>
                  </a:lnTo>
                  <a:lnTo>
                    <a:pt x="387554" y="18881"/>
                  </a:lnTo>
                  <a:lnTo>
                    <a:pt x="378242" y="19701"/>
                  </a:lnTo>
                  <a:lnTo>
                    <a:pt x="361644" y="17156"/>
                  </a:lnTo>
                  <a:lnTo>
                    <a:pt x="334796" y="13666"/>
                  </a:lnTo>
                  <a:lnTo>
                    <a:pt x="263611" y="22199"/>
                  </a:lnTo>
                  <a:lnTo>
                    <a:pt x="229475" y="41984"/>
                  </a:lnTo>
                  <a:lnTo>
                    <a:pt x="188659" y="100968"/>
                  </a:lnTo>
                  <a:lnTo>
                    <a:pt x="175056" y="166152"/>
                  </a:lnTo>
                  <a:lnTo>
                    <a:pt x="167606" y="238574"/>
                  </a:lnTo>
                  <a:lnTo>
                    <a:pt x="162299" y="270129"/>
                  </a:lnTo>
                  <a:lnTo>
                    <a:pt x="137029" y="306169"/>
                  </a:lnTo>
                  <a:lnTo>
                    <a:pt x="81070" y="346175"/>
                  </a:lnTo>
                  <a:lnTo>
                    <a:pt x="50659" y="362037"/>
                  </a:lnTo>
                  <a:lnTo>
                    <a:pt x="22435" y="382689"/>
                  </a:lnTo>
                  <a:lnTo>
                    <a:pt x="3685" y="413427"/>
                  </a:lnTo>
                  <a:lnTo>
                    <a:pt x="0" y="450891"/>
                  </a:lnTo>
                  <a:lnTo>
                    <a:pt x="16966" y="491717"/>
                  </a:lnTo>
                  <a:lnTo>
                    <a:pt x="30373" y="511895"/>
                  </a:lnTo>
                  <a:lnTo>
                    <a:pt x="36732" y="531037"/>
                  </a:lnTo>
                  <a:lnTo>
                    <a:pt x="37746" y="549143"/>
                  </a:lnTo>
                  <a:lnTo>
                    <a:pt x="35115" y="566215"/>
                  </a:lnTo>
                  <a:lnTo>
                    <a:pt x="33004" y="585615"/>
                  </a:lnTo>
                  <a:lnTo>
                    <a:pt x="37701" y="611739"/>
                  </a:lnTo>
                  <a:lnTo>
                    <a:pt x="48229" y="639933"/>
                  </a:lnTo>
                  <a:lnTo>
                    <a:pt x="63613" y="665541"/>
                  </a:lnTo>
                  <a:lnTo>
                    <a:pt x="78761" y="686791"/>
                  </a:lnTo>
                  <a:lnTo>
                    <a:pt x="89533" y="707267"/>
                  </a:lnTo>
                  <a:lnTo>
                    <a:pt x="96416" y="724124"/>
                  </a:lnTo>
                  <a:lnTo>
                    <a:pt x="99897" y="734515"/>
                  </a:lnTo>
                  <a:lnTo>
                    <a:pt x="110099" y="709639"/>
                  </a:lnTo>
                  <a:lnTo>
                    <a:pt x="113499" y="690713"/>
                  </a:lnTo>
                  <a:lnTo>
                    <a:pt x="110099" y="668168"/>
                  </a:lnTo>
                  <a:lnTo>
                    <a:pt x="99897" y="632433"/>
                  </a:lnTo>
                  <a:lnTo>
                    <a:pt x="91275" y="598200"/>
                  </a:lnTo>
                  <a:lnTo>
                    <a:pt x="93096" y="586214"/>
                  </a:lnTo>
                  <a:lnTo>
                    <a:pt x="100262" y="589749"/>
                  </a:lnTo>
                  <a:lnTo>
                    <a:pt x="107670" y="602080"/>
                  </a:lnTo>
                  <a:lnTo>
                    <a:pt x="118521" y="617169"/>
                  </a:lnTo>
                  <a:lnTo>
                    <a:pt x="136176" y="627603"/>
                  </a:lnTo>
                  <a:lnTo>
                    <a:pt x="155778" y="630794"/>
                  </a:lnTo>
                  <a:lnTo>
                    <a:pt x="172465" y="624152"/>
                  </a:lnTo>
                  <a:lnTo>
                    <a:pt x="163552" y="617729"/>
                  </a:lnTo>
                  <a:lnTo>
                    <a:pt x="155614" y="603804"/>
                  </a:lnTo>
                  <a:lnTo>
                    <a:pt x="162089" y="560690"/>
                  </a:lnTo>
                  <a:lnTo>
                    <a:pt x="193075" y="532760"/>
                  </a:lnTo>
                  <a:lnTo>
                    <a:pt x="213931" y="533106"/>
                  </a:lnTo>
                  <a:lnTo>
                    <a:pt x="245834" y="523189"/>
                  </a:lnTo>
                  <a:lnTo>
                    <a:pt x="276769" y="493096"/>
                  </a:lnTo>
                  <a:lnTo>
                    <a:pt x="291185" y="448518"/>
                  </a:lnTo>
                  <a:lnTo>
                    <a:pt x="273532" y="395146"/>
                  </a:lnTo>
                  <a:lnTo>
                    <a:pt x="300618" y="403212"/>
                  </a:lnTo>
                  <a:lnTo>
                    <a:pt x="334752" y="420328"/>
                  </a:lnTo>
                  <a:lnTo>
                    <a:pt x="363543" y="442100"/>
                  </a:lnTo>
                  <a:lnTo>
                    <a:pt x="374598" y="464132"/>
                  </a:lnTo>
                  <a:lnTo>
                    <a:pt x="387519" y="431751"/>
                  </a:lnTo>
                  <a:lnTo>
                    <a:pt x="394363" y="393425"/>
                  </a:lnTo>
                  <a:lnTo>
                    <a:pt x="393915" y="356651"/>
                  </a:lnTo>
                  <a:lnTo>
                    <a:pt x="384962" y="328928"/>
                  </a:lnTo>
                  <a:lnTo>
                    <a:pt x="370306" y="307116"/>
                  </a:lnTo>
                  <a:lnTo>
                    <a:pt x="357106" y="280647"/>
                  </a:lnTo>
                  <a:lnTo>
                    <a:pt x="350709" y="252109"/>
                  </a:lnTo>
                  <a:lnTo>
                    <a:pt x="356463" y="224089"/>
                  </a:lnTo>
                  <a:lnTo>
                    <a:pt x="368567" y="204389"/>
                  </a:lnTo>
                  <a:lnTo>
                    <a:pt x="381401" y="196843"/>
                  </a:lnTo>
                  <a:lnTo>
                    <a:pt x="394723" y="198092"/>
                  </a:lnTo>
                  <a:lnTo>
                    <a:pt x="408291" y="204773"/>
                  </a:lnTo>
                  <a:lnTo>
                    <a:pt x="424607" y="206973"/>
                  </a:lnTo>
                  <a:lnTo>
                    <a:pt x="445541" y="199602"/>
                  </a:lnTo>
                  <a:lnTo>
                    <a:pt x="464045" y="180332"/>
                  </a:lnTo>
                  <a:lnTo>
                    <a:pt x="473074" y="146835"/>
                  </a:lnTo>
                  <a:lnTo>
                    <a:pt x="476355" y="156791"/>
                  </a:lnTo>
                  <a:lnTo>
                    <a:pt x="477937" y="174767"/>
                  </a:lnTo>
                  <a:lnTo>
                    <a:pt x="477087" y="195332"/>
                  </a:lnTo>
                  <a:lnTo>
                    <a:pt x="473074" y="213053"/>
                  </a:lnTo>
                  <a:lnTo>
                    <a:pt x="484416" y="190119"/>
                  </a:lnTo>
                  <a:lnTo>
                    <a:pt x="496404" y="164938"/>
                  </a:lnTo>
                  <a:lnTo>
                    <a:pt x="498995" y="160628"/>
                  </a:lnTo>
                  <a:lnTo>
                    <a:pt x="502355" y="150500"/>
                  </a:lnTo>
                  <a:lnTo>
                    <a:pt x="506443" y="131316"/>
                  </a:lnTo>
                  <a:lnTo>
                    <a:pt x="508103" y="107474"/>
                  </a:lnTo>
                  <a:lnTo>
                    <a:pt x="504176" y="83373"/>
                  </a:lnTo>
                  <a:lnTo>
                    <a:pt x="483768" y="40265"/>
                  </a:lnTo>
                  <a:lnTo>
                    <a:pt x="449757" y="11644"/>
                  </a:lnTo>
                  <a:lnTo>
                    <a:pt x="416065" y="604"/>
                  </a:lnTo>
                  <a:lnTo>
                    <a:pt x="405296" y="0"/>
                  </a:lnTo>
                  <a:close/>
                </a:path>
              </a:pathLst>
            </a:custGeom>
            <a:solidFill>
              <a:srgbClr val="7D3D10"/>
            </a:solidFill>
          </p:spPr>
          <p:txBody>
            <a:bodyPr wrap="square" lIns="0" tIns="0" rIns="0" bIns="0" rtlCol="0"/>
            <a:lstStyle/>
            <a:p>
              <a:endParaRPr/>
            </a:p>
          </p:txBody>
        </p:sp>
        <p:sp>
          <p:nvSpPr>
            <p:cNvPr id="55" name="object 18">
              <a:extLst>
                <a:ext uri="{FF2B5EF4-FFF2-40B4-BE49-F238E27FC236}">
                  <a16:creationId xmlns:a16="http://schemas.microsoft.com/office/drawing/2014/main" id="{DE72539A-D274-71C2-EF7D-51FC8CCA22BD}"/>
                </a:ext>
              </a:extLst>
            </p:cNvPr>
            <p:cNvSpPr/>
            <p:nvPr/>
          </p:nvSpPr>
          <p:spPr>
            <a:xfrm>
              <a:off x="2829479" y="5141031"/>
              <a:ext cx="40640" cy="137160"/>
            </a:xfrm>
            <a:custGeom>
              <a:avLst/>
              <a:gdLst/>
              <a:ahLst/>
              <a:cxnLst/>
              <a:rect l="l" t="t" r="r" b="b"/>
              <a:pathLst>
                <a:path w="40640" h="137160">
                  <a:moveTo>
                    <a:pt x="2628" y="0"/>
                  </a:moveTo>
                  <a:lnTo>
                    <a:pt x="14478" y="25931"/>
                  </a:lnTo>
                  <a:lnTo>
                    <a:pt x="18702" y="42862"/>
                  </a:lnTo>
                  <a:lnTo>
                    <a:pt x="15546" y="58250"/>
                  </a:lnTo>
                  <a:lnTo>
                    <a:pt x="5257" y="79552"/>
                  </a:lnTo>
                  <a:lnTo>
                    <a:pt x="11449" y="71280"/>
                  </a:lnTo>
                  <a:lnTo>
                    <a:pt x="17392" y="62750"/>
                  </a:lnTo>
                  <a:lnTo>
                    <a:pt x="21859" y="53706"/>
                  </a:lnTo>
                  <a:lnTo>
                    <a:pt x="23621" y="43891"/>
                  </a:lnTo>
                  <a:lnTo>
                    <a:pt x="25837" y="59621"/>
                  </a:lnTo>
                  <a:lnTo>
                    <a:pt x="21655" y="85382"/>
                  </a:lnTo>
                  <a:lnTo>
                    <a:pt x="12550" y="113714"/>
                  </a:lnTo>
                  <a:lnTo>
                    <a:pt x="0" y="137159"/>
                  </a:lnTo>
                  <a:lnTo>
                    <a:pt x="21614" y="110928"/>
                  </a:lnTo>
                  <a:lnTo>
                    <a:pt x="35107" y="83667"/>
                  </a:lnTo>
                  <a:lnTo>
                    <a:pt x="40235" y="58464"/>
                  </a:lnTo>
                  <a:lnTo>
                    <a:pt x="36753" y="38404"/>
                  </a:lnTo>
                  <a:lnTo>
                    <a:pt x="28467" y="21988"/>
                  </a:lnTo>
                  <a:lnTo>
                    <a:pt x="19691" y="9944"/>
                  </a:lnTo>
                  <a:lnTo>
                    <a:pt x="10914" y="2528"/>
                  </a:lnTo>
                  <a:lnTo>
                    <a:pt x="2628" y="0"/>
                  </a:lnTo>
                  <a:close/>
                </a:path>
              </a:pathLst>
            </a:custGeom>
            <a:solidFill>
              <a:srgbClr val="926133"/>
            </a:solidFill>
          </p:spPr>
          <p:txBody>
            <a:bodyPr wrap="square" lIns="0" tIns="0" rIns="0" bIns="0" rtlCol="0"/>
            <a:lstStyle/>
            <a:p>
              <a:endParaRPr/>
            </a:p>
          </p:txBody>
        </p:sp>
        <p:sp>
          <p:nvSpPr>
            <p:cNvPr id="56" name="object 19">
              <a:extLst>
                <a:ext uri="{FF2B5EF4-FFF2-40B4-BE49-F238E27FC236}">
                  <a16:creationId xmlns:a16="http://schemas.microsoft.com/office/drawing/2014/main" id="{8ADCD0E3-419C-7946-8B6B-BD3E3009D841}"/>
                </a:ext>
              </a:extLst>
            </p:cNvPr>
            <p:cNvSpPr/>
            <p:nvPr/>
          </p:nvSpPr>
          <p:spPr>
            <a:xfrm>
              <a:off x="2699946" y="5831404"/>
              <a:ext cx="59690" cy="129539"/>
            </a:xfrm>
            <a:custGeom>
              <a:avLst/>
              <a:gdLst/>
              <a:ahLst/>
              <a:cxnLst/>
              <a:rect l="l" t="t" r="r" b="b"/>
              <a:pathLst>
                <a:path w="59690" h="129539">
                  <a:moveTo>
                    <a:pt x="23253" y="0"/>
                  </a:moveTo>
                  <a:lnTo>
                    <a:pt x="2578" y="5511"/>
                  </a:lnTo>
                  <a:lnTo>
                    <a:pt x="0" y="5511"/>
                  </a:lnTo>
                  <a:lnTo>
                    <a:pt x="14974" y="33070"/>
                  </a:lnTo>
                  <a:lnTo>
                    <a:pt x="22926" y="50296"/>
                  </a:lnTo>
                  <a:lnTo>
                    <a:pt x="26521" y="64424"/>
                  </a:lnTo>
                  <a:lnTo>
                    <a:pt x="28422" y="82689"/>
                  </a:lnTo>
                  <a:lnTo>
                    <a:pt x="35327" y="116793"/>
                  </a:lnTo>
                  <a:lnTo>
                    <a:pt x="38760" y="129539"/>
                  </a:lnTo>
                  <a:lnTo>
                    <a:pt x="44532" y="120712"/>
                  </a:lnTo>
                  <a:lnTo>
                    <a:pt x="50064" y="114727"/>
                  </a:lnTo>
                  <a:lnTo>
                    <a:pt x="55114" y="111325"/>
                  </a:lnTo>
                  <a:lnTo>
                    <a:pt x="59436" y="110248"/>
                  </a:lnTo>
                  <a:lnTo>
                    <a:pt x="49098" y="24803"/>
                  </a:lnTo>
                  <a:lnTo>
                    <a:pt x="23253" y="0"/>
                  </a:lnTo>
                  <a:close/>
                </a:path>
              </a:pathLst>
            </a:custGeom>
            <a:solidFill>
              <a:srgbClr val="3E206E"/>
            </a:solidFill>
          </p:spPr>
          <p:txBody>
            <a:bodyPr wrap="square" lIns="0" tIns="0" rIns="0" bIns="0" rtlCol="0"/>
            <a:lstStyle/>
            <a:p>
              <a:endParaRPr/>
            </a:p>
          </p:txBody>
        </p:sp>
        <p:sp>
          <p:nvSpPr>
            <p:cNvPr id="57" name="object 20">
              <a:extLst>
                <a:ext uri="{FF2B5EF4-FFF2-40B4-BE49-F238E27FC236}">
                  <a16:creationId xmlns:a16="http://schemas.microsoft.com/office/drawing/2014/main" id="{3944A06A-B15B-1E46-9615-8487DF73A107}"/>
                </a:ext>
              </a:extLst>
            </p:cNvPr>
            <p:cNvSpPr/>
            <p:nvPr/>
          </p:nvSpPr>
          <p:spPr>
            <a:xfrm>
              <a:off x="2844126" y="5866455"/>
              <a:ext cx="43815" cy="77470"/>
            </a:xfrm>
            <a:custGeom>
              <a:avLst/>
              <a:gdLst/>
              <a:ahLst/>
              <a:cxnLst/>
              <a:rect l="l" t="t" r="r" b="b"/>
              <a:pathLst>
                <a:path w="43815" h="77470">
                  <a:moveTo>
                    <a:pt x="17016" y="0"/>
                  </a:moveTo>
                  <a:lnTo>
                    <a:pt x="1268" y="8280"/>
                  </a:lnTo>
                  <a:lnTo>
                    <a:pt x="0" y="29947"/>
                  </a:lnTo>
                  <a:lnTo>
                    <a:pt x="2914" y="55241"/>
                  </a:lnTo>
                  <a:lnTo>
                    <a:pt x="8288" y="74320"/>
                  </a:lnTo>
                  <a:lnTo>
                    <a:pt x="14400" y="77342"/>
                  </a:lnTo>
                  <a:lnTo>
                    <a:pt x="18169" y="74362"/>
                  </a:lnTo>
                  <a:lnTo>
                    <a:pt x="24894" y="70089"/>
                  </a:lnTo>
                  <a:lnTo>
                    <a:pt x="33589" y="65300"/>
                  </a:lnTo>
                  <a:lnTo>
                    <a:pt x="43267" y="60769"/>
                  </a:lnTo>
                  <a:lnTo>
                    <a:pt x="17016" y="0"/>
                  </a:lnTo>
                  <a:close/>
                </a:path>
              </a:pathLst>
            </a:custGeom>
            <a:solidFill>
              <a:srgbClr val="FBC392"/>
            </a:solidFill>
          </p:spPr>
          <p:txBody>
            <a:bodyPr wrap="square" lIns="0" tIns="0" rIns="0" bIns="0" rtlCol="0"/>
            <a:lstStyle/>
            <a:p>
              <a:endParaRPr/>
            </a:p>
          </p:txBody>
        </p:sp>
        <p:sp>
          <p:nvSpPr>
            <p:cNvPr id="58" name="object 21">
              <a:extLst>
                <a:ext uri="{FF2B5EF4-FFF2-40B4-BE49-F238E27FC236}">
                  <a16:creationId xmlns:a16="http://schemas.microsoft.com/office/drawing/2014/main" id="{F2D35C80-F681-88FD-ABA1-DD30D9D64D41}"/>
                </a:ext>
              </a:extLst>
            </p:cNvPr>
            <p:cNvSpPr/>
            <p:nvPr/>
          </p:nvSpPr>
          <p:spPr>
            <a:xfrm>
              <a:off x="2722797" y="5805501"/>
              <a:ext cx="358140" cy="268605"/>
            </a:xfrm>
            <a:custGeom>
              <a:avLst/>
              <a:gdLst/>
              <a:ahLst/>
              <a:cxnLst/>
              <a:rect l="l" t="t" r="r" b="b"/>
              <a:pathLst>
                <a:path w="358140" h="268604">
                  <a:moveTo>
                    <a:pt x="127165" y="0"/>
                  </a:moveTo>
                  <a:lnTo>
                    <a:pt x="121447" y="1809"/>
                  </a:lnTo>
                  <a:lnTo>
                    <a:pt x="110621" y="4140"/>
                  </a:lnTo>
                  <a:lnTo>
                    <a:pt x="41528" y="16586"/>
                  </a:lnTo>
                  <a:lnTo>
                    <a:pt x="28551" y="18661"/>
                  </a:lnTo>
                  <a:lnTo>
                    <a:pt x="15248" y="21252"/>
                  </a:lnTo>
                  <a:lnTo>
                    <a:pt x="0" y="24879"/>
                  </a:lnTo>
                  <a:lnTo>
                    <a:pt x="8032" y="53572"/>
                  </a:lnTo>
                  <a:lnTo>
                    <a:pt x="23361" y="100926"/>
                  </a:lnTo>
                  <a:lnTo>
                    <a:pt x="38690" y="146205"/>
                  </a:lnTo>
                  <a:lnTo>
                    <a:pt x="46723" y="168668"/>
                  </a:lnTo>
                  <a:lnTo>
                    <a:pt x="49478" y="174893"/>
                  </a:lnTo>
                  <a:lnTo>
                    <a:pt x="53206" y="185262"/>
                  </a:lnTo>
                  <a:lnTo>
                    <a:pt x="56935" y="199777"/>
                  </a:lnTo>
                  <a:lnTo>
                    <a:pt x="59689" y="218440"/>
                  </a:lnTo>
                  <a:lnTo>
                    <a:pt x="56937" y="236327"/>
                  </a:lnTo>
                  <a:lnTo>
                    <a:pt x="57102" y="247475"/>
                  </a:lnTo>
                  <a:lnTo>
                    <a:pt x="61158" y="256551"/>
                  </a:lnTo>
                  <a:lnTo>
                    <a:pt x="70078" y="268224"/>
                  </a:lnTo>
                  <a:lnTo>
                    <a:pt x="272503" y="268224"/>
                  </a:lnTo>
                  <a:lnTo>
                    <a:pt x="279029" y="263379"/>
                  </a:lnTo>
                  <a:lnTo>
                    <a:pt x="291639" y="260611"/>
                  </a:lnTo>
                  <a:lnTo>
                    <a:pt x="332516" y="251285"/>
                  </a:lnTo>
                  <a:lnTo>
                    <a:pt x="345173" y="240563"/>
                  </a:lnTo>
                  <a:lnTo>
                    <a:pt x="358139" y="243332"/>
                  </a:lnTo>
                  <a:lnTo>
                    <a:pt x="358139" y="218440"/>
                  </a:lnTo>
                  <a:lnTo>
                    <a:pt x="355549" y="210146"/>
                  </a:lnTo>
                  <a:lnTo>
                    <a:pt x="345173" y="204622"/>
                  </a:lnTo>
                  <a:lnTo>
                    <a:pt x="339978" y="193560"/>
                  </a:lnTo>
                  <a:lnTo>
                    <a:pt x="339978" y="185267"/>
                  </a:lnTo>
                  <a:lnTo>
                    <a:pt x="329273" y="185525"/>
                  </a:lnTo>
                  <a:lnTo>
                    <a:pt x="321811" y="185262"/>
                  </a:lnTo>
                  <a:lnTo>
                    <a:pt x="314350" y="182926"/>
                  </a:lnTo>
                  <a:lnTo>
                    <a:pt x="308838" y="176961"/>
                  </a:lnTo>
                  <a:lnTo>
                    <a:pt x="300890" y="177136"/>
                  </a:lnTo>
                  <a:lnTo>
                    <a:pt x="290021" y="186642"/>
                  </a:lnTo>
                  <a:lnTo>
                    <a:pt x="267309" y="212915"/>
                  </a:lnTo>
                  <a:lnTo>
                    <a:pt x="258592" y="212439"/>
                  </a:lnTo>
                  <a:lnTo>
                    <a:pt x="212163" y="200689"/>
                  </a:lnTo>
                  <a:lnTo>
                    <a:pt x="197242" y="191138"/>
                  </a:lnTo>
                  <a:lnTo>
                    <a:pt x="182318" y="182105"/>
                  </a:lnTo>
                  <a:lnTo>
                    <a:pt x="171284" y="176961"/>
                  </a:lnTo>
                  <a:lnTo>
                    <a:pt x="165486" y="174633"/>
                  </a:lnTo>
                  <a:lnTo>
                    <a:pt x="159932" y="170746"/>
                  </a:lnTo>
                  <a:lnTo>
                    <a:pt x="154866" y="163747"/>
                  </a:lnTo>
                  <a:lnTo>
                    <a:pt x="150533" y="152082"/>
                  </a:lnTo>
                  <a:lnTo>
                    <a:pt x="147612" y="124042"/>
                  </a:lnTo>
                  <a:lnTo>
                    <a:pt x="140796" y="79151"/>
                  </a:lnTo>
                  <a:lnTo>
                    <a:pt x="133007" y="32705"/>
                  </a:lnTo>
                  <a:lnTo>
                    <a:pt x="127165" y="0"/>
                  </a:lnTo>
                  <a:close/>
                </a:path>
              </a:pathLst>
            </a:custGeom>
            <a:solidFill>
              <a:srgbClr val="FCCEA6"/>
            </a:solidFill>
          </p:spPr>
          <p:txBody>
            <a:bodyPr wrap="square" lIns="0" tIns="0" rIns="0" bIns="0" rtlCol="0"/>
            <a:lstStyle/>
            <a:p>
              <a:endParaRPr/>
            </a:p>
          </p:txBody>
        </p:sp>
        <p:pic>
          <p:nvPicPr>
            <p:cNvPr id="59" name="object 22">
              <a:extLst>
                <a:ext uri="{FF2B5EF4-FFF2-40B4-BE49-F238E27FC236}">
                  <a16:creationId xmlns:a16="http://schemas.microsoft.com/office/drawing/2014/main" id="{38DF9BC6-0C48-96FF-088A-3511350AFA6D}"/>
                </a:ext>
              </a:extLst>
            </p:cNvPr>
            <p:cNvPicPr/>
            <p:nvPr/>
          </p:nvPicPr>
          <p:blipFill>
            <a:blip r:embed="rId8" cstate="print"/>
            <a:stretch>
              <a:fillRect/>
            </a:stretch>
          </p:blipFill>
          <p:spPr>
            <a:xfrm>
              <a:off x="3526399" y="5746260"/>
              <a:ext cx="225663" cy="175349"/>
            </a:xfrm>
            <a:prstGeom prst="rect">
              <a:avLst/>
            </a:prstGeom>
          </p:spPr>
        </p:pic>
        <p:sp>
          <p:nvSpPr>
            <p:cNvPr id="60" name="object 23">
              <a:extLst>
                <a:ext uri="{FF2B5EF4-FFF2-40B4-BE49-F238E27FC236}">
                  <a16:creationId xmlns:a16="http://schemas.microsoft.com/office/drawing/2014/main" id="{1FCB1D60-B117-D84E-854A-293F8E12A506}"/>
                </a:ext>
              </a:extLst>
            </p:cNvPr>
            <p:cNvSpPr/>
            <p:nvPr/>
          </p:nvSpPr>
          <p:spPr>
            <a:xfrm>
              <a:off x="3585263" y="5601656"/>
              <a:ext cx="147955" cy="320675"/>
            </a:xfrm>
            <a:custGeom>
              <a:avLst/>
              <a:gdLst/>
              <a:ahLst/>
              <a:cxnLst/>
              <a:rect l="l" t="t" r="r" b="b"/>
              <a:pathLst>
                <a:path w="147954" h="320675">
                  <a:moveTo>
                    <a:pt x="78193" y="0"/>
                  </a:moveTo>
                  <a:lnTo>
                    <a:pt x="60227" y="5864"/>
                  </a:lnTo>
                  <a:lnTo>
                    <a:pt x="41533" y="22083"/>
                  </a:lnTo>
                  <a:lnTo>
                    <a:pt x="30585" y="43781"/>
                  </a:lnTo>
                  <a:lnTo>
                    <a:pt x="29856" y="63150"/>
                  </a:lnTo>
                  <a:lnTo>
                    <a:pt x="34965" y="79932"/>
                  </a:lnTo>
                  <a:lnTo>
                    <a:pt x="46318" y="104430"/>
                  </a:lnTo>
                  <a:lnTo>
                    <a:pt x="46724" y="112152"/>
                  </a:lnTo>
                  <a:lnTo>
                    <a:pt x="39344" y="118320"/>
                  </a:lnTo>
                  <a:lnTo>
                    <a:pt x="20769" y="124229"/>
                  </a:lnTo>
                  <a:lnTo>
                    <a:pt x="8681" y="134108"/>
                  </a:lnTo>
                  <a:lnTo>
                    <a:pt x="13630" y="151490"/>
                  </a:lnTo>
                  <a:lnTo>
                    <a:pt x="27339" y="170424"/>
                  </a:lnTo>
                  <a:lnTo>
                    <a:pt x="41533" y="184961"/>
                  </a:lnTo>
                  <a:lnTo>
                    <a:pt x="48182" y="197173"/>
                  </a:lnTo>
                  <a:lnTo>
                    <a:pt x="46072" y="208087"/>
                  </a:lnTo>
                  <a:lnTo>
                    <a:pt x="37149" y="216411"/>
                  </a:lnTo>
                  <a:lnTo>
                    <a:pt x="8760" y="225297"/>
                  </a:lnTo>
                  <a:lnTo>
                    <a:pt x="0" y="235691"/>
                  </a:lnTo>
                  <a:lnTo>
                    <a:pt x="23360" y="281582"/>
                  </a:lnTo>
                  <a:lnTo>
                    <a:pt x="61969" y="318862"/>
                  </a:lnTo>
                  <a:lnTo>
                    <a:pt x="71907" y="320414"/>
                  </a:lnTo>
                  <a:lnTo>
                    <a:pt x="83062" y="314717"/>
                  </a:lnTo>
                  <a:lnTo>
                    <a:pt x="93200" y="301905"/>
                  </a:lnTo>
                  <a:lnTo>
                    <a:pt x="115504" y="266058"/>
                  </a:lnTo>
                  <a:lnTo>
                    <a:pt x="137808" y="211059"/>
                  </a:lnTo>
                  <a:lnTo>
                    <a:pt x="147947" y="140790"/>
                  </a:lnTo>
                  <a:lnTo>
                    <a:pt x="142919" y="84110"/>
                  </a:lnTo>
                  <a:lnTo>
                    <a:pt x="131078" y="60040"/>
                  </a:lnTo>
                  <a:lnTo>
                    <a:pt x="117289" y="57712"/>
                  </a:lnTo>
                  <a:lnTo>
                    <a:pt x="106418" y="66254"/>
                  </a:lnTo>
                  <a:lnTo>
                    <a:pt x="98918" y="71474"/>
                  </a:lnTo>
                  <a:lnTo>
                    <a:pt x="93119" y="66600"/>
                  </a:lnTo>
                  <a:lnTo>
                    <a:pt x="90728" y="51891"/>
                  </a:lnTo>
                  <a:lnTo>
                    <a:pt x="93451" y="27608"/>
                  </a:lnTo>
                  <a:lnTo>
                    <a:pt x="90809" y="6558"/>
                  </a:lnTo>
                  <a:lnTo>
                    <a:pt x="78193" y="0"/>
                  </a:lnTo>
                  <a:close/>
                </a:path>
              </a:pathLst>
            </a:custGeom>
            <a:solidFill>
              <a:srgbClr val="0071BB"/>
            </a:solidFill>
          </p:spPr>
          <p:txBody>
            <a:bodyPr wrap="square" lIns="0" tIns="0" rIns="0" bIns="0" rtlCol="0"/>
            <a:lstStyle/>
            <a:p>
              <a:endParaRPr/>
            </a:p>
          </p:txBody>
        </p:sp>
        <p:sp>
          <p:nvSpPr>
            <p:cNvPr id="61" name="object 24">
              <a:extLst>
                <a:ext uri="{FF2B5EF4-FFF2-40B4-BE49-F238E27FC236}">
                  <a16:creationId xmlns:a16="http://schemas.microsoft.com/office/drawing/2014/main" id="{3EC2BD29-B7B7-56F4-B8C3-7A1B3DE632B4}"/>
                </a:ext>
              </a:extLst>
            </p:cNvPr>
            <p:cNvSpPr/>
            <p:nvPr/>
          </p:nvSpPr>
          <p:spPr>
            <a:xfrm>
              <a:off x="3649394" y="5645475"/>
              <a:ext cx="58419" cy="132715"/>
            </a:xfrm>
            <a:custGeom>
              <a:avLst/>
              <a:gdLst/>
              <a:ahLst/>
              <a:cxnLst/>
              <a:rect l="l" t="t" r="r" b="b"/>
              <a:pathLst>
                <a:path w="58420" h="132714">
                  <a:moveTo>
                    <a:pt x="8365" y="49905"/>
                  </a:moveTo>
                  <a:lnTo>
                    <a:pt x="9992" y="56360"/>
                  </a:lnTo>
                  <a:lnTo>
                    <a:pt x="21056" y="80098"/>
                  </a:lnTo>
                  <a:lnTo>
                    <a:pt x="31998" y="94906"/>
                  </a:lnTo>
                  <a:lnTo>
                    <a:pt x="39484" y="105309"/>
                  </a:lnTo>
                  <a:lnTo>
                    <a:pt x="46970" y="116230"/>
                  </a:lnTo>
                  <a:lnTo>
                    <a:pt x="57911" y="132588"/>
                  </a:lnTo>
                  <a:lnTo>
                    <a:pt x="57911" y="129832"/>
                  </a:lnTo>
                  <a:lnTo>
                    <a:pt x="55155" y="125125"/>
                  </a:lnTo>
                  <a:lnTo>
                    <a:pt x="47709" y="112907"/>
                  </a:lnTo>
                  <a:lnTo>
                    <a:pt x="36807" y="96029"/>
                  </a:lnTo>
                  <a:lnTo>
                    <a:pt x="23685" y="77343"/>
                  </a:lnTo>
                  <a:lnTo>
                    <a:pt x="12998" y="60639"/>
                  </a:lnTo>
                  <a:lnTo>
                    <a:pt x="8365" y="49905"/>
                  </a:lnTo>
                  <a:close/>
                </a:path>
                <a:path w="58420" h="132714">
                  <a:moveTo>
                    <a:pt x="6357" y="41937"/>
                  </a:moveTo>
                  <a:lnTo>
                    <a:pt x="7242" y="47302"/>
                  </a:lnTo>
                  <a:lnTo>
                    <a:pt x="8365" y="49905"/>
                  </a:lnTo>
                  <a:lnTo>
                    <a:pt x="6357" y="41937"/>
                  </a:lnTo>
                  <a:close/>
                </a:path>
                <a:path w="58420" h="132714">
                  <a:moveTo>
                    <a:pt x="2628" y="0"/>
                  </a:moveTo>
                  <a:lnTo>
                    <a:pt x="0" y="2755"/>
                  </a:lnTo>
                  <a:lnTo>
                    <a:pt x="698" y="10956"/>
                  </a:lnTo>
                  <a:lnTo>
                    <a:pt x="3617" y="31068"/>
                  </a:lnTo>
                  <a:lnTo>
                    <a:pt x="6357" y="41937"/>
                  </a:lnTo>
                  <a:lnTo>
                    <a:pt x="4443" y="30338"/>
                  </a:lnTo>
                  <a:lnTo>
                    <a:pt x="2628" y="2755"/>
                  </a:lnTo>
                  <a:lnTo>
                    <a:pt x="2628" y="0"/>
                  </a:lnTo>
                  <a:close/>
                </a:path>
              </a:pathLst>
            </a:custGeom>
            <a:solidFill>
              <a:srgbClr val="3C88C8"/>
            </a:solidFill>
          </p:spPr>
          <p:txBody>
            <a:bodyPr wrap="square" lIns="0" tIns="0" rIns="0" bIns="0" rtlCol="0"/>
            <a:lstStyle/>
            <a:p>
              <a:endParaRPr/>
            </a:p>
          </p:txBody>
        </p:sp>
        <p:sp>
          <p:nvSpPr>
            <p:cNvPr id="62" name="object 25">
              <a:extLst>
                <a:ext uri="{FF2B5EF4-FFF2-40B4-BE49-F238E27FC236}">
                  <a16:creationId xmlns:a16="http://schemas.microsoft.com/office/drawing/2014/main" id="{9372B597-EF30-5627-F6F3-CFBCFE244706}"/>
                </a:ext>
              </a:extLst>
            </p:cNvPr>
            <p:cNvSpPr/>
            <p:nvPr/>
          </p:nvSpPr>
          <p:spPr>
            <a:xfrm>
              <a:off x="3642310" y="5681480"/>
              <a:ext cx="186690" cy="262890"/>
            </a:xfrm>
            <a:custGeom>
              <a:avLst/>
              <a:gdLst/>
              <a:ahLst/>
              <a:cxnLst/>
              <a:rect l="l" t="t" r="r" b="b"/>
              <a:pathLst>
                <a:path w="186690" h="262889">
                  <a:moveTo>
                    <a:pt x="147613" y="0"/>
                  </a:moveTo>
                  <a:lnTo>
                    <a:pt x="133480" y="4671"/>
                  </a:lnTo>
                  <a:lnTo>
                    <a:pt x="124477" y="18672"/>
                  </a:lnTo>
                  <a:lnTo>
                    <a:pt x="117917" y="35783"/>
                  </a:lnTo>
                  <a:lnTo>
                    <a:pt x="111113" y="49784"/>
                  </a:lnTo>
                  <a:lnTo>
                    <a:pt x="105655" y="55138"/>
                  </a:lnTo>
                  <a:lnTo>
                    <a:pt x="100687" y="49087"/>
                  </a:lnTo>
                  <a:lnTo>
                    <a:pt x="95719" y="35780"/>
                  </a:lnTo>
                  <a:lnTo>
                    <a:pt x="90260" y="19367"/>
                  </a:lnTo>
                  <a:lnTo>
                    <a:pt x="73563" y="17377"/>
                  </a:lnTo>
                  <a:lnTo>
                    <a:pt x="62237" y="38722"/>
                  </a:lnTo>
                  <a:lnTo>
                    <a:pt x="55799" y="68362"/>
                  </a:lnTo>
                  <a:lnTo>
                    <a:pt x="53760" y="91262"/>
                  </a:lnTo>
                  <a:lnTo>
                    <a:pt x="51602" y="101370"/>
                  </a:lnTo>
                  <a:lnTo>
                    <a:pt x="46267" y="103701"/>
                  </a:lnTo>
                  <a:lnTo>
                    <a:pt x="39466" y="99813"/>
                  </a:lnTo>
                  <a:lnTo>
                    <a:pt x="32907" y="91262"/>
                  </a:lnTo>
                  <a:lnTo>
                    <a:pt x="26597" y="86032"/>
                  </a:lnTo>
                  <a:lnTo>
                    <a:pt x="528" y="122405"/>
                  </a:lnTo>
                  <a:lnTo>
                    <a:pt x="0" y="144140"/>
                  </a:lnTo>
                  <a:lnTo>
                    <a:pt x="935" y="168468"/>
                  </a:lnTo>
                  <a:lnTo>
                    <a:pt x="1627" y="193573"/>
                  </a:lnTo>
                  <a:lnTo>
                    <a:pt x="1912" y="213312"/>
                  </a:lnTo>
                  <a:lnTo>
                    <a:pt x="3908" y="227093"/>
                  </a:lnTo>
                  <a:lnTo>
                    <a:pt x="9326" y="241395"/>
                  </a:lnTo>
                  <a:lnTo>
                    <a:pt x="19877" y="262699"/>
                  </a:lnTo>
                  <a:lnTo>
                    <a:pt x="71569" y="255702"/>
                  </a:lnTo>
                  <a:lnTo>
                    <a:pt x="85053" y="254406"/>
                  </a:lnTo>
                  <a:lnTo>
                    <a:pt x="121221" y="235046"/>
                  </a:lnTo>
                  <a:lnTo>
                    <a:pt x="155436" y="207391"/>
                  </a:lnTo>
                  <a:lnTo>
                    <a:pt x="158246" y="198494"/>
                  </a:lnTo>
                  <a:lnTo>
                    <a:pt x="152503" y="192187"/>
                  </a:lnTo>
                  <a:lnTo>
                    <a:pt x="140406" y="187954"/>
                  </a:lnTo>
                  <a:lnTo>
                    <a:pt x="124156" y="185280"/>
                  </a:lnTo>
                  <a:lnTo>
                    <a:pt x="114744" y="178925"/>
                  </a:lnTo>
                  <a:lnTo>
                    <a:pt x="119265" y="169721"/>
                  </a:lnTo>
                  <a:lnTo>
                    <a:pt x="134052" y="160000"/>
                  </a:lnTo>
                  <a:lnTo>
                    <a:pt x="155436" y="152095"/>
                  </a:lnTo>
                  <a:lnTo>
                    <a:pt x="170995" y="140904"/>
                  </a:lnTo>
                  <a:lnTo>
                    <a:pt x="172380" y="126861"/>
                  </a:lnTo>
                  <a:lnTo>
                    <a:pt x="162032" y="114374"/>
                  </a:lnTo>
                  <a:lnTo>
                    <a:pt x="142393" y="107848"/>
                  </a:lnTo>
                  <a:lnTo>
                    <a:pt x="135348" y="99378"/>
                  </a:lnTo>
                  <a:lnTo>
                    <a:pt x="148589" y="81576"/>
                  </a:lnTo>
                  <a:lnTo>
                    <a:pt x="169163" y="59629"/>
                  </a:lnTo>
                  <a:lnTo>
                    <a:pt x="184113" y="38722"/>
                  </a:lnTo>
                  <a:lnTo>
                    <a:pt x="186475" y="23338"/>
                  </a:lnTo>
                  <a:lnTo>
                    <a:pt x="179551" y="11064"/>
                  </a:lnTo>
                  <a:lnTo>
                    <a:pt x="165782" y="2939"/>
                  </a:lnTo>
                  <a:lnTo>
                    <a:pt x="147613" y="0"/>
                  </a:lnTo>
                  <a:close/>
                </a:path>
              </a:pathLst>
            </a:custGeom>
            <a:solidFill>
              <a:srgbClr val="4B2C83"/>
            </a:solidFill>
          </p:spPr>
          <p:txBody>
            <a:bodyPr wrap="square" lIns="0" tIns="0" rIns="0" bIns="0" rtlCol="0"/>
            <a:lstStyle/>
            <a:p>
              <a:endParaRPr/>
            </a:p>
          </p:txBody>
        </p:sp>
        <p:pic>
          <p:nvPicPr>
            <p:cNvPr id="63" name="object 26">
              <a:extLst>
                <a:ext uri="{FF2B5EF4-FFF2-40B4-BE49-F238E27FC236}">
                  <a16:creationId xmlns:a16="http://schemas.microsoft.com/office/drawing/2014/main" id="{88130C56-3FE5-AB1B-82B8-D95CBF2B2ADC}"/>
                </a:ext>
              </a:extLst>
            </p:cNvPr>
            <p:cNvPicPr/>
            <p:nvPr/>
          </p:nvPicPr>
          <p:blipFill>
            <a:blip r:embed="rId9" cstate="print"/>
            <a:stretch>
              <a:fillRect/>
            </a:stretch>
          </p:blipFill>
          <p:spPr>
            <a:xfrm>
              <a:off x="3620436" y="5730819"/>
              <a:ext cx="164598" cy="342900"/>
            </a:xfrm>
            <a:prstGeom prst="rect">
              <a:avLst/>
            </a:prstGeom>
          </p:spPr>
        </p:pic>
        <p:pic>
          <p:nvPicPr>
            <p:cNvPr id="64" name="object 27">
              <a:extLst>
                <a:ext uri="{FF2B5EF4-FFF2-40B4-BE49-F238E27FC236}">
                  <a16:creationId xmlns:a16="http://schemas.microsoft.com/office/drawing/2014/main" id="{55DA75DC-83AC-0805-D0D2-A31352309598}"/>
                </a:ext>
              </a:extLst>
            </p:cNvPr>
            <p:cNvPicPr/>
            <p:nvPr/>
          </p:nvPicPr>
          <p:blipFill>
            <a:blip r:embed="rId10" cstate="print"/>
            <a:stretch>
              <a:fillRect/>
            </a:stretch>
          </p:blipFill>
          <p:spPr>
            <a:xfrm>
              <a:off x="4056006" y="5973897"/>
              <a:ext cx="209083" cy="100092"/>
            </a:xfrm>
            <a:prstGeom prst="rect">
              <a:avLst/>
            </a:prstGeom>
          </p:spPr>
        </p:pic>
        <p:sp>
          <p:nvSpPr>
            <p:cNvPr id="65" name="object 28">
              <a:extLst>
                <a:ext uri="{FF2B5EF4-FFF2-40B4-BE49-F238E27FC236}">
                  <a16:creationId xmlns:a16="http://schemas.microsoft.com/office/drawing/2014/main" id="{52B895C2-9129-2832-85C1-DB89999F1FF0}"/>
                </a:ext>
              </a:extLst>
            </p:cNvPr>
            <p:cNvSpPr/>
            <p:nvPr/>
          </p:nvSpPr>
          <p:spPr>
            <a:xfrm>
              <a:off x="4463208" y="5977708"/>
              <a:ext cx="163195" cy="132715"/>
            </a:xfrm>
            <a:custGeom>
              <a:avLst/>
              <a:gdLst/>
              <a:ahLst/>
              <a:cxnLst/>
              <a:rect l="l" t="t" r="r" b="b"/>
              <a:pathLst>
                <a:path w="163195" h="132714">
                  <a:moveTo>
                    <a:pt x="44005" y="0"/>
                  </a:moveTo>
                  <a:lnTo>
                    <a:pt x="0" y="96685"/>
                  </a:lnTo>
                  <a:lnTo>
                    <a:pt x="163068" y="132587"/>
                  </a:lnTo>
                  <a:lnTo>
                    <a:pt x="152717" y="5524"/>
                  </a:lnTo>
                  <a:lnTo>
                    <a:pt x="44005" y="0"/>
                  </a:lnTo>
                  <a:close/>
                </a:path>
              </a:pathLst>
            </a:custGeom>
            <a:solidFill>
              <a:srgbClr val="0078BE"/>
            </a:solidFill>
          </p:spPr>
          <p:txBody>
            <a:bodyPr wrap="square" lIns="0" tIns="0" rIns="0" bIns="0" rtlCol="0"/>
            <a:lstStyle/>
            <a:p>
              <a:endParaRPr/>
            </a:p>
          </p:txBody>
        </p:sp>
        <p:sp>
          <p:nvSpPr>
            <p:cNvPr id="66" name="object 29">
              <a:extLst>
                <a:ext uri="{FF2B5EF4-FFF2-40B4-BE49-F238E27FC236}">
                  <a16:creationId xmlns:a16="http://schemas.microsoft.com/office/drawing/2014/main" id="{C25C3A2D-E1BF-9E42-3A7C-7D9D3BD4951B}"/>
                </a:ext>
              </a:extLst>
            </p:cNvPr>
            <p:cNvSpPr/>
            <p:nvPr/>
          </p:nvSpPr>
          <p:spPr>
            <a:xfrm>
              <a:off x="4508861" y="5311723"/>
              <a:ext cx="276225" cy="273050"/>
            </a:xfrm>
            <a:custGeom>
              <a:avLst/>
              <a:gdLst/>
              <a:ahLst/>
              <a:cxnLst/>
              <a:rect l="l" t="t" r="r" b="b"/>
              <a:pathLst>
                <a:path w="276225" h="273050">
                  <a:moveTo>
                    <a:pt x="266475" y="214922"/>
                  </a:moveTo>
                  <a:lnTo>
                    <a:pt x="94265" y="214922"/>
                  </a:lnTo>
                  <a:lnTo>
                    <a:pt x="101162" y="229950"/>
                  </a:lnTo>
                  <a:lnTo>
                    <a:pt x="106595" y="242136"/>
                  </a:lnTo>
                  <a:lnTo>
                    <a:pt x="111054" y="251739"/>
                  </a:lnTo>
                  <a:lnTo>
                    <a:pt x="115029" y="259016"/>
                  </a:lnTo>
                  <a:lnTo>
                    <a:pt x="120224" y="272796"/>
                  </a:lnTo>
                  <a:lnTo>
                    <a:pt x="275913" y="242481"/>
                  </a:lnTo>
                  <a:lnTo>
                    <a:pt x="266475" y="214922"/>
                  </a:lnTo>
                  <a:close/>
                </a:path>
                <a:path w="276225" h="273050">
                  <a:moveTo>
                    <a:pt x="231089" y="123990"/>
                  </a:moveTo>
                  <a:lnTo>
                    <a:pt x="13823" y="123990"/>
                  </a:lnTo>
                  <a:lnTo>
                    <a:pt x="16427" y="129501"/>
                  </a:lnTo>
                  <a:lnTo>
                    <a:pt x="16548" y="137338"/>
                  </a:lnTo>
                  <a:lnTo>
                    <a:pt x="17400" y="146726"/>
                  </a:lnTo>
                  <a:lnTo>
                    <a:pt x="19711" y="155080"/>
                  </a:lnTo>
                  <a:lnTo>
                    <a:pt x="24212" y="159816"/>
                  </a:lnTo>
                  <a:lnTo>
                    <a:pt x="24212" y="165328"/>
                  </a:lnTo>
                  <a:lnTo>
                    <a:pt x="26802" y="168084"/>
                  </a:lnTo>
                  <a:lnTo>
                    <a:pt x="26802" y="170840"/>
                  </a:lnTo>
                  <a:lnTo>
                    <a:pt x="29393" y="173596"/>
                  </a:lnTo>
                  <a:lnTo>
                    <a:pt x="29393" y="179108"/>
                  </a:lnTo>
                  <a:lnTo>
                    <a:pt x="31997" y="181864"/>
                  </a:lnTo>
                  <a:lnTo>
                    <a:pt x="31997" y="187375"/>
                  </a:lnTo>
                  <a:lnTo>
                    <a:pt x="29393" y="198386"/>
                  </a:lnTo>
                  <a:lnTo>
                    <a:pt x="31997" y="201142"/>
                  </a:lnTo>
                  <a:lnTo>
                    <a:pt x="37178" y="209410"/>
                  </a:lnTo>
                  <a:lnTo>
                    <a:pt x="43910" y="214620"/>
                  </a:lnTo>
                  <a:lnTo>
                    <a:pt x="52101" y="218022"/>
                  </a:lnTo>
                  <a:lnTo>
                    <a:pt x="61264" y="219874"/>
                  </a:lnTo>
                  <a:lnTo>
                    <a:pt x="70910" y="220433"/>
                  </a:lnTo>
                  <a:lnTo>
                    <a:pt x="83889" y="220433"/>
                  </a:lnTo>
                  <a:lnTo>
                    <a:pt x="89083" y="217678"/>
                  </a:lnTo>
                  <a:lnTo>
                    <a:pt x="94265" y="217678"/>
                  </a:lnTo>
                  <a:lnTo>
                    <a:pt x="94265" y="214922"/>
                  </a:lnTo>
                  <a:lnTo>
                    <a:pt x="266475" y="214922"/>
                  </a:lnTo>
                  <a:lnTo>
                    <a:pt x="244773" y="151549"/>
                  </a:lnTo>
                  <a:lnTo>
                    <a:pt x="231089" y="123990"/>
                  </a:lnTo>
                  <a:close/>
                </a:path>
                <a:path w="276225" h="273050">
                  <a:moveTo>
                    <a:pt x="169525" y="0"/>
                  </a:moveTo>
                  <a:lnTo>
                    <a:pt x="16427" y="30302"/>
                  </a:lnTo>
                  <a:lnTo>
                    <a:pt x="12249" y="44165"/>
                  </a:lnTo>
                  <a:lnTo>
                    <a:pt x="4422" y="75079"/>
                  </a:lnTo>
                  <a:lnTo>
                    <a:pt x="0" y="107026"/>
                  </a:lnTo>
                  <a:lnTo>
                    <a:pt x="6038" y="123990"/>
                  </a:lnTo>
                  <a:lnTo>
                    <a:pt x="13823" y="126746"/>
                  </a:lnTo>
                  <a:lnTo>
                    <a:pt x="13823" y="123990"/>
                  </a:lnTo>
                  <a:lnTo>
                    <a:pt x="231089" y="123990"/>
                  </a:lnTo>
                  <a:lnTo>
                    <a:pt x="169525" y="0"/>
                  </a:lnTo>
                  <a:close/>
                </a:path>
              </a:pathLst>
            </a:custGeom>
            <a:solidFill>
              <a:srgbClr val="FCCEA6"/>
            </a:solidFill>
          </p:spPr>
          <p:txBody>
            <a:bodyPr wrap="square" lIns="0" tIns="0" rIns="0" bIns="0" rtlCol="0"/>
            <a:lstStyle/>
            <a:p>
              <a:endParaRPr/>
            </a:p>
          </p:txBody>
        </p:sp>
        <p:sp>
          <p:nvSpPr>
            <p:cNvPr id="67" name="object 30">
              <a:extLst>
                <a:ext uri="{FF2B5EF4-FFF2-40B4-BE49-F238E27FC236}">
                  <a16:creationId xmlns:a16="http://schemas.microsoft.com/office/drawing/2014/main" id="{9730BEFB-C112-C8B7-7048-CDEA3EB04D51}"/>
                </a:ext>
              </a:extLst>
            </p:cNvPr>
            <p:cNvSpPr/>
            <p:nvPr/>
          </p:nvSpPr>
          <p:spPr>
            <a:xfrm>
              <a:off x="4213274" y="5540319"/>
              <a:ext cx="757555" cy="600710"/>
            </a:xfrm>
            <a:custGeom>
              <a:avLst/>
              <a:gdLst/>
              <a:ahLst/>
              <a:cxnLst/>
              <a:rect l="l" t="t" r="r" b="b"/>
              <a:pathLst>
                <a:path w="757554" h="600710">
                  <a:moveTo>
                    <a:pt x="754848" y="381850"/>
                  </a:moveTo>
                  <a:lnTo>
                    <a:pt x="352780" y="381850"/>
                  </a:lnTo>
                  <a:lnTo>
                    <a:pt x="354157" y="387429"/>
                  </a:lnTo>
                  <a:lnTo>
                    <a:pt x="357963" y="399492"/>
                  </a:lnTo>
                  <a:lnTo>
                    <a:pt x="363715" y="417264"/>
                  </a:lnTo>
                  <a:lnTo>
                    <a:pt x="370928" y="439966"/>
                  </a:lnTo>
                  <a:lnTo>
                    <a:pt x="379075" y="470747"/>
                  </a:lnTo>
                  <a:lnTo>
                    <a:pt x="387464" y="503605"/>
                  </a:lnTo>
                  <a:lnTo>
                    <a:pt x="395444" y="536816"/>
                  </a:lnTo>
                  <a:lnTo>
                    <a:pt x="402056" y="567245"/>
                  </a:lnTo>
                  <a:lnTo>
                    <a:pt x="404647" y="572782"/>
                  </a:lnTo>
                  <a:lnTo>
                    <a:pt x="404647" y="583857"/>
                  </a:lnTo>
                  <a:lnTo>
                    <a:pt x="407250" y="589381"/>
                  </a:lnTo>
                  <a:lnTo>
                    <a:pt x="407250" y="600455"/>
                  </a:lnTo>
                  <a:lnTo>
                    <a:pt x="757427" y="600455"/>
                  </a:lnTo>
                  <a:lnTo>
                    <a:pt x="756186" y="553415"/>
                  </a:lnTo>
                  <a:lnTo>
                    <a:pt x="755396" y="502786"/>
                  </a:lnTo>
                  <a:lnTo>
                    <a:pt x="755012" y="453796"/>
                  </a:lnTo>
                  <a:lnTo>
                    <a:pt x="754898" y="417264"/>
                  </a:lnTo>
                  <a:lnTo>
                    <a:pt x="754848" y="381850"/>
                  </a:lnTo>
                  <a:close/>
                </a:path>
                <a:path w="757554" h="600710">
                  <a:moveTo>
                    <a:pt x="358775" y="28753"/>
                  </a:moveTo>
                  <a:lnTo>
                    <a:pt x="330728" y="37703"/>
                  </a:lnTo>
                  <a:lnTo>
                    <a:pt x="312408" y="65849"/>
                  </a:lnTo>
                  <a:lnTo>
                    <a:pt x="293115" y="121754"/>
                  </a:lnTo>
                  <a:lnTo>
                    <a:pt x="171195" y="439966"/>
                  </a:lnTo>
                  <a:lnTo>
                    <a:pt x="7785" y="451027"/>
                  </a:lnTo>
                  <a:lnTo>
                    <a:pt x="7785" y="453796"/>
                  </a:lnTo>
                  <a:lnTo>
                    <a:pt x="0" y="520204"/>
                  </a:lnTo>
                  <a:lnTo>
                    <a:pt x="0" y="531279"/>
                  </a:lnTo>
                  <a:lnTo>
                    <a:pt x="194538" y="567245"/>
                  </a:lnTo>
                  <a:lnTo>
                    <a:pt x="212980" y="571701"/>
                  </a:lnTo>
                  <a:lnTo>
                    <a:pt x="254203" y="553415"/>
                  </a:lnTo>
                  <a:lnTo>
                    <a:pt x="319049" y="437197"/>
                  </a:lnTo>
                  <a:lnTo>
                    <a:pt x="352780" y="381850"/>
                  </a:lnTo>
                  <a:lnTo>
                    <a:pt x="754848" y="381850"/>
                  </a:lnTo>
                  <a:lnTo>
                    <a:pt x="754837" y="356958"/>
                  </a:lnTo>
                  <a:lnTo>
                    <a:pt x="754019" y="276081"/>
                  </a:lnTo>
                  <a:lnTo>
                    <a:pt x="749167" y="211732"/>
                  </a:lnTo>
                  <a:lnTo>
                    <a:pt x="740568" y="161526"/>
                  </a:lnTo>
                  <a:lnTo>
                    <a:pt x="728511" y="123082"/>
                  </a:lnTo>
                  <a:lnTo>
                    <a:pt x="695172" y="71945"/>
                  </a:lnTo>
                  <a:lnTo>
                    <a:pt x="664815" y="48293"/>
                  </a:lnTo>
                  <a:lnTo>
                    <a:pt x="633590" y="30441"/>
                  </a:lnTo>
                  <a:lnTo>
                    <a:pt x="407250" y="30441"/>
                  </a:lnTo>
                  <a:lnTo>
                    <a:pt x="358775" y="28753"/>
                  </a:lnTo>
                  <a:close/>
                </a:path>
                <a:path w="757554" h="600710">
                  <a:moveTo>
                    <a:pt x="568070" y="0"/>
                  </a:moveTo>
                  <a:lnTo>
                    <a:pt x="565480" y="0"/>
                  </a:lnTo>
                  <a:lnTo>
                    <a:pt x="551011" y="3588"/>
                  </a:lnTo>
                  <a:lnTo>
                    <a:pt x="513926" y="12106"/>
                  </a:lnTo>
                  <a:lnTo>
                    <a:pt x="463708" y="22181"/>
                  </a:lnTo>
                  <a:lnTo>
                    <a:pt x="409841" y="30441"/>
                  </a:lnTo>
                  <a:lnTo>
                    <a:pt x="633590" y="30441"/>
                  </a:lnTo>
                  <a:lnTo>
                    <a:pt x="629350" y="28017"/>
                  </a:lnTo>
                  <a:lnTo>
                    <a:pt x="596315" y="12411"/>
                  </a:lnTo>
                  <a:lnTo>
                    <a:pt x="573252" y="2768"/>
                  </a:lnTo>
                  <a:lnTo>
                    <a:pt x="568070" y="0"/>
                  </a:lnTo>
                  <a:close/>
                </a:path>
              </a:pathLst>
            </a:custGeom>
            <a:solidFill>
              <a:srgbClr val="0071BB"/>
            </a:solidFill>
          </p:spPr>
          <p:txBody>
            <a:bodyPr wrap="square" lIns="0" tIns="0" rIns="0" bIns="0" rtlCol="0"/>
            <a:lstStyle/>
            <a:p>
              <a:endParaRPr/>
            </a:p>
          </p:txBody>
        </p:sp>
        <p:sp>
          <p:nvSpPr>
            <p:cNvPr id="68" name="object 31">
              <a:extLst>
                <a:ext uri="{FF2B5EF4-FFF2-40B4-BE49-F238E27FC236}">
                  <a16:creationId xmlns:a16="http://schemas.microsoft.com/office/drawing/2014/main" id="{9DE4AF1D-EFCD-0D11-1F83-2B0DD8367AE7}"/>
                </a:ext>
              </a:extLst>
            </p:cNvPr>
            <p:cNvSpPr/>
            <p:nvPr/>
          </p:nvSpPr>
          <p:spPr>
            <a:xfrm>
              <a:off x="4585130" y="5979231"/>
              <a:ext cx="12700" cy="53340"/>
            </a:xfrm>
            <a:custGeom>
              <a:avLst/>
              <a:gdLst/>
              <a:ahLst/>
              <a:cxnLst/>
              <a:rect l="l" t="t" r="r" b="b"/>
              <a:pathLst>
                <a:path w="12700" h="53339">
                  <a:moveTo>
                    <a:pt x="0" y="0"/>
                  </a:moveTo>
                  <a:lnTo>
                    <a:pt x="2247" y="13070"/>
                  </a:lnTo>
                  <a:lnTo>
                    <a:pt x="5181" y="26669"/>
                  </a:lnTo>
                  <a:lnTo>
                    <a:pt x="8572" y="40269"/>
                  </a:lnTo>
                  <a:lnTo>
                    <a:pt x="12192" y="53339"/>
                  </a:lnTo>
                  <a:lnTo>
                    <a:pt x="8915" y="40269"/>
                  </a:lnTo>
                  <a:lnTo>
                    <a:pt x="3276" y="13070"/>
                  </a:lnTo>
                  <a:lnTo>
                    <a:pt x="0" y="0"/>
                  </a:lnTo>
                  <a:close/>
                </a:path>
              </a:pathLst>
            </a:custGeom>
            <a:solidFill>
              <a:srgbClr val="00639F"/>
            </a:solidFill>
          </p:spPr>
          <p:txBody>
            <a:bodyPr wrap="square" lIns="0" tIns="0" rIns="0" bIns="0" rtlCol="0"/>
            <a:lstStyle/>
            <a:p>
              <a:endParaRPr/>
            </a:p>
          </p:txBody>
        </p:sp>
        <p:sp>
          <p:nvSpPr>
            <p:cNvPr id="69" name="object 32">
              <a:extLst>
                <a:ext uri="{FF2B5EF4-FFF2-40B4-BE49-F238E27FC236}">
                  <a16:creationId xmlns:a16="http://schemas.microsoft.com/office/drawing/2014/main" id="{34C24054-4FFB-29F3-1E63-068CA21EB34B}"/>
                </a:ext>
              </a:extLst>
            </p:cNvPr>
            <p:cNvSpPr/>
            <p:nvPr/>
          </p:nvSpPr>
          <p:spPr>
            <a:xfrm>
              <a:off x="4566842" y="5828355"/>
              <a:ext cx="52069" cy="295910"/>
            </a:xfrm>
            <a:custGeom>
              <a:avLst/>
              <a:gdLst/>
              <a:ahLst/>
              <a:cxnLst/>
              <a:rect l="l" t="t" r="r" b="b"/>
              <a:pathLst>
                <a:path w="52070" h="295910">
                  <a:moveTo>
                    <a:pt x="44043" y="0"/>
                  </a:moveTo>
                  <a:lnTo>
                    <a:pt x="0" y="93941"/>
                  </a:lnTo>
                  <a:lnTo>
                    <a:pt x="0" y="96710"/>
                  </a:lnTo>
                  <a:lnTo>
                    <a:pt x="2590" y="105003"/>
                  </a:lnTo>
                  <a:lnTo>
                    <a:pt x="5181" y="116052"/>
                  </a:lnTo>
                  <a:lnTo>
                    <a:pt x="8662" y="123221"/>
                  </a:lnTo>
                  <a:lnTo>
                    <a:pt x="11658" y="131943"/>
                  </a:lnTo>
                  <a:lnTo>
                    <a:pt x="14654" y="141698"/>
                  </a:lnTo>
                  <a:lnTo>
                    <a:pt x="18135" y="151968"/>
                  </a:lnTo>
                  <a:lnTo>
                    <a:pt x="21616" y="164838"/>
                  </a:lnTo>
                  <a:lnTo>
                    <a:pt x="27608" y="191607"/>
                  </a:lnTo>
                  <a:lnTo>
                    <a:pt x="31089" y="204469"/>
                  </a:lnTo>
                  <a:lnTo>
                    <a:pt x="38335" y="229210"/>
                  </a:lnTo>
                  <a:lnTo>
                    <a:pt x="44367" y="253172"/>
                  </a:lnTo>
                  <a:lnTo>
                    <a:pt x="48941" y="275580"/>
                  </a:lnTo>
                  <a:lnTo>
                    <a:pt x="51815" y="295655"/>
                  </a:lnTo>
                  <a:lnTo>
                    <a:pt x="44043" y="0"/>
                  </a:lnTo>
                  <a:close/>
                </a:path>
              </a:pathLst>
            </a:custGeom>
            <a:solidFill>
              <a:srgbClr val="005E9D"/>
            </a:solidFill>
          </p:spPr>
          <p:txBody>
            <a:bodyPr wrap="square" lIns="0" tIns="0" rIns="0" bIns="0" rtlCol="0"/>
            <a:lstStyle/>
            <a:p>
              <a:endParaRPr/>
            </a:p>
          </p:txBody>
        </p:sp>
        <p:sp>
          <p:nvSpPr>
            <p:cNvPr id="70" name="object 33">
              <a:extLst>
                <a:ext uri="{FF2B5EF4-FFF2-40B4-BE49-F238E27FC236}">
                  <a16:creationId xmlns:a16="http://schemas.microsoft.com/office/drawing/2014/main" id="{F1B67136-4B1D-BA4E-5A8B-D9A3B3452C57}"/>
                </a:ext>
              </a:extLst>
            </p:cNvPr>
            <p:cNvSpPr/>
            <p:nvPr/>
          </p:nvSpPr>
          <p:spPr>
            <a:xfrm>
              <a:off x="4475958" y="5173974"/>
              <a:ext cx="330835" cy="313690"/>
            </a:xfrm>
            <a:custGeom>
              <a:avLst/>
              <a:gdLst/>
              <a:ahLst/>
              <a:cxnLst/>
              <a:rect l="l" t="t" r="r" b="b"/>
              <a:pathLst>
                <a:path w="330834" h="313689">
                  <a:moveTo>
                    <a:pt x="186915" y="0"/>
                  </a:moveTo>
                  <a:lnTo>
                    <a:pt x="112128" y="16181"/>
                  </a:lnTo>
                  <a:lnTo>
                    <a:pt x="71575" y="36916"/>
                  </a:lnTo>
                  <a:lnTo>
                    <a:pt x="35885" y="63383"/>
                  </a:lnTo>
                  <a:lnTo>
                    <a:pt x="10284" y="93560"/>
                  </a:lnTo>
                  <a:lnTo>
                    <a:pt x="0" y="125422"/>
                  </a:lnTo>
                  <a:lnTo>
                    <a:pt x="10258" y="156946"/>
                  </a:lnTo>
                  <a:lnTo>
                    <a:pt x="22838" y="166362"/>
                  </a:lnTo>
                  <a:lnTo>
                    <a:pt x="32985" y="170360"/>
                  </a:lnTo>
                  <a:lnTo>
                    <a:pt x="46055" y="169716"/>
                  </a:lnTo>
                  <a:lnTo>
                    <a:pt x="67408" y="165201"/>
                  </a:lnTo>
                  <a:lnTo>
                    <a:pt x="93064" y="162749"/>
                  </a:lnTo>
                  <a:lnTo>
                    <a:pt x="120669" y="157973"/>
                  </a:lnTo>
                  <a:lnTo>
                    <a:pt x="146325" y="154748"/>
                  </a:lnTo>
                  <a:lnTo>
                    <a:pt x="166138" y="156946"/>
                  </a:lnTo>
                  <a:lnTo>
                    <a:pt x="174986" y="164386"/>
                  </a:lnTo>
                  <a:lnTo>
                    <a:pt x="176526" y="177250"/>
                  </a:lnTo>
                  <a:lnTo>
                    <a:pt x="163087" y="266176"/>
                  </a:lnTo>
                  <a:lnTo>
                    <a:pt x="163857" y="294268"/>
                  </a:lnTo>
                  <a:lnTo>
                    <a:pt x="176806" y="305325"/>
                  </a:lnTo>
                  <a:lnTo>
                    <a:pt x="205101" y="308381"/>
                  </a:lnTo>
                  <a:lnTo>
                    <a:pt x="235627" y="311307"/>
                  </a:lnTo>
                  <a:lnTo>
                    <a:pt x="262256" y="313201"/>
                  </a:lnTo>
                  <a:lnTo>
                    <a:pt x="281091" y="309931"/>
                  </a:lnTo>
                  <a:lnTo>
                    <a:pt x="288236" y="297370"/>
                  </a:lnTo>
                  <a:lnTo>
                    <a:pt x="288724" y="281151"/>
                  </a:lnTo>
                  <a:lnTo>
                    <a:pt x="290187" y="268801"/>
                  </a:lnTo>
                  <a:lnTo>
                    <a:pt x="292624" y="259033"/>
                  </a:lnTo>
                  <a:lnTo>
                    <a:pt x="296033" y="250558"/>
                  </a:lnTo>
                  <a:lnTo>
                    <a:pt x="305652" y="229564"/>
                  </a:lnTo>
                  <a:lnTo>
                    <a:pt x="320386" y="189984"/>
                  </a:lnTo>
                  <a:lnTo>
                    <a:pt x="330738" y="142142"/>
                  </a:lnTo>
                  <a:lnTo>
                    <a:pt x="327212" y="96367"/>
                  </a:lnTo>
                  <a:lnTo>
                    <a:pt x="311015" y="64228"/>
                  </a:lnTo>
                  <a:lnTo>
                    <a:pt x="293112" y="49899"/>
                  </a:lnTo>
                  <a:lnTo>
                    <a:pt x="278620" y="46413"/>
                  </a:lnTo>
                  <a:lnTo>
                    <a:pt x="272653" y="46799"/>
                  </a:lnTo>
                  <a:lnTo>
                    <a:pt x="261083" y="21286"/>
                  </a:lnTo>
                  <a:lnTo>
                    <a:pt x="248296" y="7907"/>
                  </a:lnTo>
                  <a:lnTo>
                    <a:pt x="226252" y="2274"/>
                  </a:lnTo>
                  <a:lnTo>
                    <a:pt x="186915" y="0"/>
                  </a:lnTo>
                  <a:close/>
                </a:path>
              </a:pathLst>
            </a:custGeom>
            <a:solidFill>
              <a:srgbClr val="926133"/>
            </a:solidFill>
          </p:spPr>
          <p:txBody>
            <a:bodyPr wrap="square" lIns="0" tIns="0" rIns="0" bIns="0" rtlCol="0"/>
            <a:lstStyle/>
            <a:p>
              <a:endParaRPr/>
            </a:p>
          </p:txBody>
        </p:sp>
        <p:pic>
          <p:nvPicPr>
            <p:cNvPr id="71" name="object 34">
              <a:extLst>
                <a:ext uri="{FF2B5EF4-FFF2-40B4-BE49-F238E27FC236}">
                  <a16:creationId xmlns:a16="http://schemas.microsoft.com/office/drawing/2014/main" id="{7BD5F2A8-7709-C926-48C9-89632CC02534}"/>
                </a:ext>
              </a:extLst>
            </p:cNvPr>
            <p:cNvPicPr/>
            <p:nvPr/>
          </p:nvPicPr>
          <p:blipFill>
            <a:blip r:embed="rId11" cstate="print"/>
            <a:stretch>
              <a:fillRect/>
            </a:stretch>
          </p:blipFill>
          <p:spPr>
            <a:xfrm>
              <a:off x="4597322" y="5499172"/>
              <a:ext cx="188975" cy="80883"/>
            </a:xfrm>
            <a:prstGeom prst="rect">
              <a:avLst/>
            </a:prstGeom>
          </p:spPr>
        </p:pic>
        <p:sp>
          <p:nvSpPr>
            <p:cNvPr id="72" name="object 35">
              <a:extLst>
                <a:ext uri="{FF2B5EF4-FFF2-40B4-BE49-F238E27FC236}">
                  <a16:creationId xmlns:a16="http://schemas.microsoft.com/office/drawing/2014/main" id="{F771C535-9482-A7D7-6620-C3F3AA0A551F}"/>
                </a:ext>
              </a:extLst>
            </p:cNvPr>
            <p:cNvSpPr/>
            <p:nvPr/>
          </p:nvSpPr>
          <p:spPr>
            <a:xfrm>
              <a:off x="3065702" y="5886267"/>
              <a:ext cx="128270" cy="71755"/>
            </a:xfrm>
            <a:custGeom>
              <a:avLst/>
              <a:gdLst/>
              <a:ahLst/>
              <a:cxnLst/>
              <a:rect l="l" t="t" r="r" b="b"/>
              <a:pathLst>
                <a:path w="128270" h="71754">
                  <a:moveTo>
                    <a:pt x="0" y="0"/>
                  </a:moveTo>
                  <a:lnTo>
                    <a:pt x="0" y="30302"/>
                  </a:lnTo>
                  <a:lnTo>
                    <a:pt x="128016" y="71628"/>
                  </a:lnTo>
                  <a:lnTo>
                    <a:pt x="0" y="0"/>
                  </a:lnTo>
                  <a:close/>
                </a:path>
              </a:pathLst>
            </a:custGeom>
            <a:solidFill>
              <a:srgbClr val="0083B8"/>
            </a:solidFill>
          </p:spPr>
          <p:txBody>
            <a:bodyPr wrap="square" lIns="0" tIns="0" rIns="0" bIns="0" rtlCol="0"/>
            <a:lstStyle/>
            <a:p>
              <a:endParaRPr/>
            </a:p>
          </p:txBody>
        </p:sp>
        <p:pic>
          <p:nvPicPr>
            <p:cNvPr id="73" name="object 36">
              <a:extLst>
                <a:ext uri="{FF2B5EF4-FFF2-40B4-BE49-F238E27FC236}">
                  <a16:creationId xmlns:a16="http://schemas.microsoft.com/office/drawing/2014/main" id="{33C33D6B-1AEB-D3E4-8968-88D3778984EA}"/>
                </a:ext>
              </a:extLst>
            </p:cNvPr>
            <p:cNvPicPr/>
            <p:nvPr/>
          </p:nvPicPr>
          <p:blipFill>
            <a:blip r:embed="rId12" cstate="print"/>
            <a:stretch>
              <a:fillRect/>
            </a:stretch>
          </p:blipFill>
          <p:spPr>
            <a:xfrm>
              <a:off x="3183050" y="5494599"/>
              <a:ext cx="188975" cy="126492"/>
            </a:xfrm>
            <a:prstGeom prst="rect">
              <a:avLst/>
            </a:prstGeom>
          </p:spPr>
        </p:pic>
        <p:sp>
          <p:nvSpPr>
            <p:cNvPr id="74" name="object 37">
              <a:extLst>
                <a:ext uri="{FF2B5EF4-FFF2-40B4-BE49-F238E27FC236}">
                  <a16:creationId xmlns:a16="http://schemas.microsoft.com/office/drawing/2014/main" id="{04DE75B1-1352-A0F9-4FBE-593F3FB904AE}"/>
                </a:ext>
              </a:extLst>
            </p:cNvPr>
            <p:cNvSpPr/>
            <p:nvPr/>
          </p:nvSpPr>
          <p:spPr>
            <a:xfrm>
              <a:off x="3475659" y="5022159"/>
              <a:ext cx="325120" cy="447040"/>
            </a:xfrm>
            <a:custGeom>
              <a:avLst/>
              <a:gdLst/>
              <a:ahLst/>
              <a:cxnLst/>
              <a:rect l="l" t="t" r="r" b="b"/>
              <a:pathLst>
                <a:path w="325120" h="447039">
                  <a:moveTo>
                    <a:pt x="283464" y="414528"/>
                  </a:moveTo>
                  <a:lnTo>
                    <a:pt x="5194" y="414528"/>
                  </a:lnTo>
                  <a:lnTo>
                    <a:pt x="0" y="446532"/>
                  </a:lnTo>
                  <a:lnTo>
                    <a:pt x="280860" y="443865"/>
                  </a:lnTo>
                  <a:lnTo>
                    <a:pt x="283464" y="414528"/>
                  </a:lnTo>
                  <a:close/>
                </a:path>
                <a:path w="325120" h="447039">
                  <a:moveTo>
                    <a:pt x="324612" y="0"/>
                  </a:moveTo>
                  <a:lnTo>
                    <a:pt x="44805" y="0"/>
                  </a:lnTo>
                  <a:lnTo>
                    <a:pt x="39624" y="33528"/>
                  </a:lnTo>
                  <a:lnTo>
                    <a:pt x="319430" y="30734"/>
                  </a:lnTo>
                  <a:lnTo>
                    <a:pt x="324612" y="0"/>
                  </a:lnTo>
                  <a:close/>
                </a:path>
              </a:pathLst>
            </a:custGeom>
            <a:solidFill>
              <a:srgbClr val="D3E7F7"/>
            </a:solidFill>
          </p:spPr>
          <p:txBody>
            <a:bodyPr wrap="square" lIns="0" tIns="0" rIns="0" bIns="0" rtlCol="0"/>
            <a:lstStyle/>
            <a:p>
              <a:endParaRPr/>
            </a:p>
          </p:txBody>
        </p:sp>
      </p:grpSp>
      <p:pic>
        <p:nvPicPr>
          <p:cNvPr id="6" name="Picture 5" descr="Tap">
            <a:extLst>
              <a:ext uri="{FF2B5EF4-FFF2-40B4-BE49-F238E27FC236}">
                <a16:creationId xmlns:a16="http://schemas.microsoft.com/office/drawing/2014/main" id="{1C848261-5551-C104-691A-7AE7858454E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57048" y="370559"/>
            <a:ext cx="612589" cy="61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79502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2" id="{6F9D073B-8B7E-4CCD-B454-11736666544F}" vid="{CB0E54E2-5236-4DAF-8398-713F6E87C91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Global Brand Refresh_Widescreen-Revised_v10</Template>
  <TotalTime>304</TotalTime>
  <Words>307</Words>
  <Application>Microsoft Office PowerPoint</Application>
  <PresentationFormat>Widescreen</PresentationFormat>
  <Paragraphs>19</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Arial MT</vt:lpstr>
      <vt:lpstr>KPMG Bold</vt:lpstr>
      <vt:lpstr>KPMG Widescreen [16:9] Feb 2022</vt:lpstr>
      <vt:lpstr>1_KPMG Widescreen [16:9] Feb 2022</vt:lpstr>
      <vt:lpstr>think-cell Slide</vt:lpstr>
      <vt:lpstr>O4. Our Credentials    </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Rosli, Saifun</dc:creator>
  <cp:lastModifiedBy>MEDDEB, WALID</cp:lastModifiedBy>
  <cp:revision>250</cp:revision>
  <dcterms:created xsi:type="dcterms:W3CDTF">2022-03-14T16:42:38Z</dcterms:created>
  <dcterms:modified xsi:type="dcterms:W3CDTF">2024-06-05T11:06:03Z</dcterms:modified>
  <cp:category>KPMG Public</cp:category>
</cp:coreProperties>
</file>